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742" r:id="rId2"/>
    <p:sldMasterId id="2147483773" r:id="rId3"/>
  </p:sldMasterIdLst>
  <p:notesMasterIdLst>
    <p:notesMasterId r:id="rId52"/>
  </p:notesMasterIdLst>
  <p:handoutMasterIdLst>
    <p:handoutMasterId r:id="rId53"/>
  </p:handoutMasterIdLst>
  <p:sldIdLst>
    <p:sldId id="4193" r:id="rId4"/>
    <p:sldId id="4195" r:id="rId5"/>
    <p:sldId id="4212" r:id="rId6"/>
    <p:sldId id="4208" r:id="rId7"/>
    <p:sldId id="4267" r:id="rId8"/>
    <p:sldId id="4269" r:id="rId9"/>
    <p:sldId id="4250" r:id="rId10"/>
    <p:sldId id="4197" r:id="rId11"/>
    <p:sldId id="4270" r:id="rId12"/>
    <p:sldId id="4232" r:id="rId13"/>
    <p:sldId id="4272" r:id="rId14"/>
    <p:sldId id="4271" r:id="rId15"/>
    <p:sldId id="4308" r:id="rId16"/>
    <p:sldId id="4252" r:id="rId17"/>
    <p:sldId id="4309" r:id="rId18"/>
    <p:sldId id="4240" r:id="rId19"/>
    <p:sldId id="4214" r:id="rId20"/>
    <p:sldId id="4316" r:id="rId21"/>
    <p:sldId id="4325" r:id="rId22"/>
    <p:sldId id="4324" r:id="rId23"/>
    <p:sldId id="4317" r:id="rId24"/>
    <p:sldId id="4322" r:id="rId25"/>
    <p:sldId id="4318" r:id="rId26"/>
    <p:sldId id="4323" r:id="rId27"/>
    <p:sldId id="4256" r:id="rId28"/>
    <p:sldId id="4258" r:id="rId29"/>
    <p:sldId id="4259" r:id="rId30"/>
    <p:sldId id="4310" r:id="rId31"/>
    <p:sldId id="4311" r:id="rId32"/>
    <p:sldId id="4312" r:id="rId33"/>
    <p:sldId id="4313" r:id="rId34"/>
    <p:sldId id="4314" r:id="rId35"/>
    <p:sldId id="4315" r:id="rId36"/>
    <p:sldId id="4326" r:id="rId37"/>
    <p:sldId id="4336" r:id="rId38"/>
    <p:sldId id="4331" r:id="rId39"/>
    <p:sldId id="4335" r:id="rId40"/>
    <p:sldId id="4333" r:id="rId41"/>
    <p:sldId id="4334" r:id="rId42"/>
    <p:sldId id="4251" r:id="rId43"/>
    <p:sldId id="4332" r:id="rId44"/>
    <p:sldId id="4225" r:id="rId45"/>
    <p:sldId id="4206" r:id="rId46"/>
    <p:sldId id="4337" r:id="rId47"/>
    <p:sldId id="4340" r:id="rId48"/>
    <p:sldId id="4342" r:id="rId49"/>
    <p:sldId id="4343" r:id="rId50"/>
    <p:sldId id="4344" r:id="rId51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TTIER, MANON" initials="MM" lastIdx="6" clrIdx="0">
    <p:extLst>
      <p:ext uri="{19B8F6BF-5375-455C-9EA6-DF929625EA0E}">
        <p15:presenceInfo xmlns:p15="http://schemas.microsoft.com/office/powerpoint/2012/main" userId="S::manon.mottier@atos.net::c5241a07-bf8b-44df-91a3-dfa15a2a67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9C3"/>
    <a:srgbClr val="CFC095"/>
    <a:srgbClr val="D6CB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81" autoAdjust="0"/>
    <p:restoredTop sz="87674" autoAdjust="0"/>
  </p:normalViewPr>
  <p:slideViewPr>
    <p:cSldViewPr>
      <p:cViewPr varScale="1">
        <p:scale>
          <a:sx n="97" d="100"/>
          <a:sy n="97" d="100"/>
        </p:scale>
        <p:origin x="756" y="90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FE4B55CF-8FC6-4293-9D96-7FC04BBC62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2748117-6FBD-433E-BF57-6BC9190C0F9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9AFB3B-38CC-4767-B51F-3D636312058B}" type="datetime1">
              <a:rPr lang="en-US" smtClean="0"/>
              <a:t>11/18/2020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AC5AD37-E8DE-4AB0-952A-5E29F93225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4A8112D-295F-441A-8B9B-7AF014A96D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E60073-22D0-4104-97F1-C66303648A5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32862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B73A89-343C-4163-B133-77240D7548F7}" type="datetime1">
              <a:rPr lang="en-US" smtClean="0"/>
              <a:t>11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ate de la dernière réunion : 30/01/2020</a:t>
            </a:r>
          </a:p>
        </p:txBody>
      </p:sp>
    </p:spTree>
    <p:extLst>
      <p:ext uri="{BB962C8B-B14F-4D97-AF65-F5344CB8AC3E}">
        <p14:creationId xmlns:p14="http://schemas.microsoft.com/office/powerpoint/2010/main" val="3479221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ate de la dernière réunion : 30/01/2020</a:t>
            </a:r>
          </a:p>
        </p:txBody>
      </p:sp>
    </p:spTree>
    <p:extLst>
      <p:ext uri="{BB962C8B-B14F-4D97-AF65-F5344CB8AC3E}">
        <p14:creationId xmlns:p14="http://schemas.microsoft.com/office/powerpoint/2010/main" val="232336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Features</a:t>
            </a:r>
            <a:r>
              <a:rPr lang="fr-FR" dirty="0"/>
              <a:t> </a:t>
            </a:r>
            <a:r>
              <a:rPr lang="fr-FR" dirty="0" err="1"/>
              <a:t>scaling</a:t>
            </a:r>
            <a:endParaRPr lang="fr-FR" dirty="0"/>
          </a:p>
          <a:p>
            <a:r>
              <a:rPr lang="fr-FR" dirty="0"/>
              <a:t>Nettoyage</a:t>
            </a:r>
          </a:p>
        </p:txBody>
      </p:sp>
    </p:spTree>
    <p:extLst>
      <p:ext uri="{BB962C8B-B14F-4D97-AF65-F5344CB8AC3E}">
        <p14:creationId xmlns:p14="http://schemas.microsoft.com/office/powerpoint/2010/main" val="521207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ême si l’émetteur est caché, HDBSCAN arrive à l’identifier grâce à la DI</a:t>
            </a:r>
          </a:p>
        </p:txBody>
      </p:sp>
    </p:spTree>
    <p:extLst>
      <p:ext uri="{BB962C8B-B14F-4D97-AF65-F5344CB8AC3E}">
        <p14:creationId xmlns:p14="http://schemas.microsoft.com/office/powerpoint/2010/main" val="1586476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https://ewh.ieee.org/conf/radar/2021/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tif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tiff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tiff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tiff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tif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tiff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tif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tif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630" y="1604798"/>
            <a:ext cx="11076243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999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834" y="3094328"/>
            <a:ext cx="11080039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32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90074" y="4965171"/>
            <a:ext cx="1409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/01/2018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141267" y="6195793"/>
            <a:ext cx="1906291" cy="256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GB" sz="1066" b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169554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8075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153788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4" y="-26151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34281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8075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155446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24224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864471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037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282940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24224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555343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037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6797764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18197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4981422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18197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345497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327342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036554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27296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39766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650164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14765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005605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8177709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36395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42229274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0414772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227063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6456" y="2660915"/>
            <a:ext cx="6239068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89920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87631" y="1604798"/>
            <a:ext cx="6598281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999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noProof="0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311940" y="5654157"/>
            <a:ext cx="6550358" cy="84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933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Worldline, </a:t>
            </a:r>
            <a:r>
              <a:rPr lang="en-US" sz="933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933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933" kern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933" kern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6. © 2016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933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682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5" y="1454400"/>
            <a:ext cx="11660963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461640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p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486709" y="771527"/>
            <a:ext cx="11225994" cy="586628"/>
          </a:xfrm>
        </p:spPr>
        <p:txBody>
          <a:bodyPr vert="horz" wrap="square" lIns="0" tIns="0" rIns="0" bIns="0" rtlCol="0">
            <a:noAutofit/>
          </a:bodyPr>
          <a:lstStyle>
            <a:lvl1pPr marL="0" indent="0">
              <a:buFontTx/>
              <a:buNone/>
              <a:defRPr lang="en-US" sz="1800" b="1" spc="-31" smtClean="0">
                <a:solidFill>
                  <a:schemeClr val="tx2"/>
                </a:solidFill>
              </a:defRPr>
            </a:lvl1pPr>
            <a:lvl2pPr marL="187084" indent="0">
              <a:buFontTx/>
              <a:buNone/>
              <a:defRPr lang="en-US" sz="1800" smtClean="0">
                <a:latin typeface="+mn-lt"/>
                <a:ea typeface="+mn-ea"/>
                <a:cs typeface="+mn-cs"/>
              </a:defRPr>
            </a:lvl2pPr>
            <a:lvl3pPr marL="644092" indent="0">
              <a:buFontTx/>
              <a:buNone/>
              <a:defRPr lang="en-US" sz="1800" smtClean="0">
                <a:latin typeface="+mn-lt"/>
                <a:ea typeface="+mn-ea"/>
                <a:cs typeface="+mn-cs"/>
              </a:defRPr>
            </a:lvl3pPr>
            <a:lvl4pPr marL="1101101" indent="0">
              <a:buFontTx/>
              <a:buNone/>
              <a:defRPr lang="en-US" sz="1800" smtClean="0">
                <a:latin typeface="+mn-lt"/>
                <a:ea typeface="+mn-ea"/>
                <a:cs typeface="+mn-cs"/>
              </a:defRPr>
            </a:lvl4pPr>
            <a:lvl5pPr marL="1558110" indent="0">
              <a:buFontTx/>
              <a:buNone/>
              <a:defRPr lang="en-GB" sz="1800">
                <a:latin typeface="+mn-lt"/>
                <a:ea typeface="+mn-ea"/>
                <a:cs typeface="+mn-cs"/>
              </a:defRPr>
            </a:lvl5pPr>
          </a:lstStyle>
          <a:p>
            <a:pPr marL="12675" marR="5069" lvl="0" defTabSz="457008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710" y="282389"/>
            <a:ext cx="5514597" cy="46975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nl-NL" sz="1400" spc="-25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0" name="object 12"/>
          <p:cNvSpPr/>
          <p:nvPr/>
        </p:nvSpPr>
        <p:spPr>
          <a:xfrm>
            <a:off x="4" y="518500"/>
            <a:ext cx="390516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80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9684" y="6429194"/>
            <a:ext cx="483339" cy="16671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25356" algn="r">
              <a:lnSpc>
                <a:spcPts val="1332"/>
              </a:lnSpc>
              <a:defRPr sz="1200">
                <a:latin typeface="Stag Light"/>
                <a:cs typeface="Stag Light"/>
              </a:defRPr>
            </a:lvl1pPr>
          </a:lstStyle>
          <a:p>
            <a:pPr lvl="0" algn="r"/>
            <a:fld id="{CB59B384-42B2-4AEB-B4FD-F2BCF9C535CC}" type="slidenum">
              <a:rPr lang="en-GB" sz="11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lvl="0" algn="r"/>
              <a:t>‹N°›</a:t>
            </a:fld>
            <a:endParaRPr lang="en-GB" sz="11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object 2"/>
          <p:cNvSpPr/>
          <p:nvPr/>
        </p:nvSpPr>
        <p:spPr>
          <a:xfrm>
            <a:off x="4" y="6503027"/>
            <a:ext cx="390516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6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542" y="6468330"/>
            <a:ext cx="2179731" cy="11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7096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k-SK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4"/>
          </p:nvPr>
        </p:nvSpPr>
        <p:spPr>
          <a:xfrm>
            <a:off x="362057" y="2413000"/>
            <a:ext cx="2877918" cy="288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5"/>
          </p:nvPr>
        </p:nvSpPr>
        <p:spPr>
          <a:xfrm>
            <a:off x="3233061" y="2413000"/>
            <a:ext cx="2877918" cy="288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6"/>
          </p:nvPr>
        </p:nvSpPr>
        <p:spPr>
          <a:xfrm>
            <a:off x="6104077" y="2413000"/>
            <a:ext cx="2877918" cy="288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7"/>
          </p:nvPr>
        </p:nvSpPr>
        <p:spPr>
          <a:xfrm>
            <a:off x="8975054" y="2413000"/>
            <a:ext cx="2877918" cy="2880000"/>
          </a:xfrm>
        </p:spPr>
        <p:txBody>
          <a:bodyPr/>
          <a:lstStyle/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362105" y="1600200"/>
            <a:ext cx="10506326" cy="812800"/>
          </a:xfrm>
        </p:spPr>
        <p:txBody>
          <a:bodyPr lIns="134967" tIns="70182" rIns="134967" bIns="70182"/>
          <a:lstStyle>
            <a:lvl1pPr algn="l">
              <a:lnSpc>
                <a:spcPct val="120000"/>
              </a:lnSpc>
              <a:spcAft>
                <a:spcPts val="800"/>
              </a:spcAft>
              <a:defRPr/>
            </a:lvl1pPr>
            <a:lvl2pPr algn="ctr">
              <a:lnSpc>
                <a:spcPct val="120000"/>
              </a:lnSpc>
              <a:spcAft>
                <a:spcPts val="800"/>
              </a:spcAft>
              <a:defRPr/>
            </a:lvl2pPr>
            <a:lvl3pPr algn="ctr">
              <a:lnSpc>
                <a:spcPct val="120000"/>
              </a:lnSpc>
              <a:spcAft>
                <a:spcPts val="800"/>
              </a:spcAft>
              <a:defRPr/>
            </a:lvl3pPr>
            <a:lvl4pPr algn="ctr">
              <a:lnSpc>
                <a:spcPct val="120000"/>
              </a:lnSpc>
              <a:spcAft>
                <a:spcPts val="800"/>
              </a:spcAft>
              <a:defRPr/>
            </a:lvl4pPr>
            <a:lvl5pPr algn="ctr">
              <a:lnSpc>
                <a:spcPct val="120000"/>
              </a:lnSpc>
              <a:spcAft>
                <a:spcPts val="800"/>
              </a:spcAft>
              <a:defRPr/>
            </a:lvl5pPr>
          </a:lstStyle>
          <a:p>
            <a:pPr lvl="0"/>
            <a:r>
              <a:rPr lang="sk-SK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5496468-0413-4731-BC8D-F40F8207B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03137" y="6324974"/>
            <a:ext cx="1795324" cy="498205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143963" tIns="134997" rIns="143963" bIns="134997" anchor="ctr" anchorCtr="1">
            <a:spAutoFit/>
          </a:bodyPr>
          <a:lstStyle>
            <a:lvl1pPr>
              <a:defRPr lang="en-US" sz="1466">
                <a:ln>
                  <a:noFill/>
                </a:ln>
                <a:solidFill>
                  <a:schemeClr val="accent2"/>
                </a:solidFill>
                <a:latin typeface="Roboto Light"/>
                <a:cs typeface="Roboto Light"/>
              </a:defRPr>
            </a:lvl1pPr>
          </a:lstStyle>
          <a:p>
            <a:pPr defTabSz="914149"/>
            <a:r>
              <a:rPr lang="fr-FR"/>
              <a:t> - </a:t>
            </a:r>
            <a:fld id="{77513DED-9F41-6D4C-AADB-00EAAC4B4386}" type="slidenum">
              <a:rPr lang="fr-FR" smtClean="0"/>
              <a:pPr defTabSz="914149"/>
              <a:t>‹N°›</a:t>
            </a:fld>
            <a:r>
              <a:rPr lang="fr-FR"/>
              <a:t> -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1215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741" y="647705"/>
            <a:ext cx="10969943" cy="769937"/>
          </a:xfrm>
        </p:spPr>
        <p:txBody>
          <a:bodyPr>
            <a:normAutofit/>
          </a:bodyPr>
          <a:lstStyle>
            <a:lvl1pPr algn="l">
              <a:defRPr sz="2133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object 12"/>
          <p:cNvSpPr/>
          <p:nvPr userDrawn="1"/>
        </p:nvSpPr>
        <p:spPr>
          <a:xfrm>
            <a:off x="14" y="518500"/>
            <a:ext cx="390516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609125"/>
            <a:endParaRPr sz="3199">
              <a:solidFill>
                <a:prstClr val="black"/>
              </a:solidFill>
            </a:endParaRPr>
          </a:p>
        </p:txBody>
      </p:sp>
      <p:pic>
        <p:nvPicPr>
          <p:cNvPr id="8" name="Picture 26" descr="Logo_CMYK 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2403" y="6174921"/>
            <a:ext cx="1124980" cy="59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12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2979" y="-942125"/>
            <a:ext cx="13908540" cy="8451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-982979" y="-942125"/>
            <a:ext cx="13908540" cy="8451871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630" y="1604798"/>
            <a:ext cx="11076243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999" b="1" i="0" baseline="0">
                <a:solidFill>
                  <a:schemeClr val="bg1"/>
                </a:solidFill>
                <a:latin typeface="Stag LCG Semibold" charset="0"/>
                <a:ea typeface="Stag LCG Semibold" charset="0"/>
                <a:cs typeface="Stag LCG Semibold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834" y="3094328"/>
            <a:ext cx="11080039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32" b="0" i="0">
                <a:solidFill>
                  <a:schemeClr val="bg1"/>
                </a:solidFill>
                <a:latin typeface="Stag LCG Book" charset="0"/>
                <a:ea typeface="Stag LCG Book" charset="0"/>
                <a:cs typeface="Stag LCG Book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90074" y="496517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sz="1600" b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6002049" y="6195793"/>
            <a:ext cx="184730" cy="256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endParaRPr lang="en-US" sz="1066" b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283834" y="6210668"/>
            <a:ext cx="291227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33" b="0" i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Trusted partner for your </a:t>
            </a:r>
            <a:r>
              <a:rPr lang="en-GB" sz="1333" b="0" i="0">
                <a:solidFill>
                  <a:schemeClr val="bg1"/>
                </a:solidFill>
                <a:latin typeface="Stag Sans LCG Book" charset="0"/>
                <a:ea typeface="Stag Sans LCG Book" charset="0"/>
                <a:cs typeface="Stag Sans LCG Book" charset="0"/>
              </a:rPr>
              <a:t>Digital Journe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0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201522" cy="6915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12697" y="57571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8411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03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5" y="1454400"/>
            <a:ext cx="11660963" cy="46332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1pPr>
            <a:lvl2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2pPr>
            <a:lvl3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3pPr>
            <a:lvl4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4pPr>
            <a:lvl5pPr>
              <a:defRPr b="0" i="0">
                <a:latin typeface="Stag Sans LCG Light" charset="0"/>
                <a:ea typeface="Stag Sans LCG Light" charset="0"/>
                <a:cs typeface="Stag Sans LCG Light" charset="0"/>
              </a:defRPr>
            </a:lvl5pPr>
          </a:lstStyle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 b="1" i="0">
                <a:latin typeface="Stag LCG Semibold" charset="0"/>
                <a:ea typeface="Stag LCG Semibold" charset="0"/>
                <a:cs typeface="Stag LCG Semibold" charset="0"/>
              </a:defRPr>
            </a:lvl1pPr>
          </a:lstStyle>
          <a:p>
            <a:r>
              <a:rPr lang="en-US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204584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2nd top lin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5" y="1124745"/>
            <a:ext cx="11660963" cy="4964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98363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8824" cy="691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1807" y="0"/>
            <a:ext cx="12187019" cy="6964624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7" y="1"/>
            <a:ext cx="12187019" cy="68590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7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2" y="0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65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5DCC47CD-747A-4ADE-9ED6-ED253FFD8F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" y="0"/>
            <a:ext cx="12185214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51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50:50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6" y="1454400"/>
            <a:ext cx="5709851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232919" y="1455308"/>
            <a:ext cx="5709851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878142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47F7A6-B4D3-4DD5-8C50-C097826E07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88825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A3D10F3-9FBA-49C1-89B0-D3BC90923349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5DB35CE-7101-4A81-8867-51DBC1F74C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83E6470-4D48-43D5-8E4C-1F19125465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2" y="0"/>
            <a:ext cx="1218521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79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" y="0"/>
            <a:ext cx="12185214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-18055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110" y="0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9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037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02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24224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9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037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81868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18197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685" y="2660915"/>
            <a:ext cx="7294910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41383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18197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 i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24552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19022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27296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66271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56061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66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8" y="1454400"/>
            <a:ext cx="3768502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347825" y="1455308"/>
            <a:ext cx="7594102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14212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61551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33061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4038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36395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35698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557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2513" y="2660915"/>
            <a:ext cx="6623011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79092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-45493"/>
            <a:ext cx="121852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06456" y="2660915"/>
            <a:ext cx="6239068" cy="1440160"/>
          </a:xfrm>
        </p:spPr>
        <p:txBody>
          <a:bodyPr anchor="t"/>
          <a:lstStyle>
            <a:lvl1pPr>
              <a:defRPr sz="3999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04883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199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87631" y="1604798"/>
            <a:ext cx="6598281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999" b="0" i="0" baseline="0">
                <a:solidFill>
                  <a:schemeClr val="bg1"/>
                </a:solidFill>
                <a:latin typeface="Stag LCG Medium" charset="0"/>
                <a:ea typeface="Stag LCG Medium" charset="0"/>
                <a:cs typeface="Stag LCG Medium" charset="0"/>
              </a:defRPr>
            </a:lvl1pPr>
          </a:lstStyle>
          <a:p>
            <a:r>
              <a:rPr lang="nl-NL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311940" y="5654157"/>
            <a:ext cx="6550358" cy="84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933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Atos, the Atos logo, Atos Codex, Atos Consulting, Atos </a:t>
            </a:r>
            <a:r>
              <a:rPr lang="en-US" sz="933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Worldgrid</a:t>
            </a:r>
            <a:r>
              <a:rPr lang="en-US" sz="933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</a:t>
            </a:r>
            <a:r>
              <a:rPr lang="en-US" sz="933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Worldline</a:t>
            </a:r>
            <a:r>
              <a:rPr lang="en-US" sz="933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</a:t>
            </a:r>
            <a:r>
              <a:rPr lang="en-US" sz="933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BlueKiwi</a:t>
            </a:r>
            <a:r>
              <a:rPr lang="en-US" sz="933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Bull, Canopy the Open Cloud Company, Unify, </a:t>
            </a:r>
            <a:r>
              <a:rPr lang="en-US" sz="933" b="0" i="0" kern="1200" dirty="0" err="1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Yunano</a:t>
            </a:r>
            <a:r>
              <a:rPr lang="en-US" sz="933" b="0" i="0" kern="1200" dirty="0">
                <a:solidFill>
                  <a:schemeClr val="bg1"/>
                </a:solidFill>
                <a:latin typeface="Stag LCG Light" charset="0"/>
                <a:ea typeface="Stag LCG Light" charset="0"/>
                <a:cs typeface="Stag LCG Light" charset="0"/>
              </a:rPr>
              <a:t>, Zero Email, Zero Email Certified and The Zero Email Company are registered trademarks of the Atos group. June 2016. © 2016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933" b="0" i="0" dirty="0">
              <a:solidFill>
                <a:schemeClr val="bg1"/>
              </a:solidFill>
              <a:latin typeface="Stag LCG Light" charset="0"/>
              <a:ea typeface="Stag LCG Light" charset="0"/>
              <a:cs typeface="Stag LCG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681" y="5701747"/>
            <a:ext cx="2161604" cy="10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1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th section nam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8037" y="1585385"/>
            <a:ext cx="11338148" cy="4373033"/>
          </a:xfrm>
          <a:prstGeom prst="rect">
            <a:avLst/>
          </a:prstGeom>
        </p:spPr>
        <p:txBody>
          <a:bodyPr lIns="0" tIns="0" rIns="0" bIns="0"/>
          <a:lstStyle>
            <a:lvl1pPr marL="241240" indent="-241240">
              <a:buClr>
                <a:schemeClr val="tx1"/>
              </a:buClr>
              <a:buFont typeface="Stag Sans Book" pitchFamily="34" charset="0"/>
              <a:buChar char="•"/>
              <a:defRPr sz="1333" b="0" i="0">
                <a:latin typeface="Stag Sans LCG Light" charset="0"/>
                <a:ea typeface="Stag Sans LCG Light" charset="0"/>
                <a:cs typeface="Stag Sans LCG Light" charset="0"/>
              </a:defRPr>
            </a:lvl1pPr>
            <a:lvl2pPr marL="509990" indent="-241240">
              <a:defRPr sz="1333" b="0" i="0">
                <a:latin typeface="Stag Sans LCG Light" charset="0"/>
                <a:ea typeface="Stag Sans LCG Light" charset="0"/>
                <a:cs typeface="Stag Sans LCG Light" charset="0"/>
              </a:defRPr>
            </a:lvl2pPr>
            <a:lvl3pPr marL="964959" indent="-245472">
              <a:defRPr sz="1333" b="0" i="0">
                <a:latin typeface="Stag Sans LCG Light" charset="0"/>
                <a:ea typeface="Stag Sans LCG Light" charset="0"/>
                <a:cs typeface="Stag Sans LCG Light" charset="0"/>
              </a:defRPr>
            </a:lvl3pPr>
            <a:lvl4pPr marL="1218895" indent="-253937">
              <a:defRPr sz="1333" b="0" i="0">
                <a:latin typeface="Stag Sans LCG Light" charset="0"/>
                <a:ea typeface="Stag Sans LCG Light" charset="0"/>
                <a:cs typeface="Stag Sans LCG Light" charset="0"/>
              </a:defRPr>
            </a:lvl4pPr>
            <a:lvl5pPr marL="1540548" indent="-308956">
              <a:defRPr sz="1333" b="0" i="0">
                <a:latin typeface="Stag Sans LCG Light" charset="0"/>
                <a:ea typeface="Stag Sans LCG Light" charset="0"/>
                <a:cs typeface="Stag Sans LCG Light" charset="0"/>
              </a:defRPr>
            </a:lvl5pPr>
          </a:lstStyle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8037" y="524539"/>
            <a:ext cx="11338147" cy="8222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933" dirty="0"/>
            </a:lvl1pPr>
          </a:lstStyle>
          <a:p>
            <a:pPr lvl="0"/>
            <a:r>
              <a:rPr lang="en-US" dirty="0"/>
              <a:t>Click to edit the head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-21924" y="269359"/>
            <a:ext cx="3839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38036" y="148587"/>
            <a:ext cx="3888390" cy="269899"/>
          </a:xfrm>
        </p:spPr>
        <p:txBody>
          <a:bodyPr lIns="0" tIns="0" rIns="0" bIns="0" anchor="ctr"/>
          <a:lstStyle>
            <a:lvl1pPr marL="0" indent="0">
              <a:buFontTx/>
              <a:buNone/>
              <a:defRPr sz="1066" b="0" i="0">
                <a:solidFill>
                  <a:schemeClr val="tx1"/>
                </a:solidFill>
                <a:latin typeface="Stag Sans LCG Book" charset="0"/>
                <a:ea typeface="Stag Sans LCG Book" charset="0"/>
                <a:cs typeface="Stag Sans LCG Book" charset="0"/>
              </a:defRPr>
            </a:lvl1pPr>
            <a:lvl2pPr marL="359910" indent="0">
              <a:buFontTx/>
              <a:buNone/>
              <a:defRPr sz="1866"/>
            </a:lvl2pPr>
            <a:lvl3pPr marL="719820" indent="0">
              <a:buFontTx/>
              <a:buNone/>
              <a:defRPr sz="1866"/>
            </a:lvl3pPr>
            <a:lvl4pPr marL="1079730" indent="0">
              <a:buFontTx/>
              <a:buNone/>
              <a:defRPr sz="1866"/>
            </a:lvl4pPr>
            <a:lvl5pPr marL="1439640" indent="0">
              <a:buFontTx/>
              <a:buNone/>
              <a:defRPr sz="1866"/>
            </a:lvl5pPr>
          </a:lstStyle>
          <a:p>
            <a:pPr lvl="0"/>
            <a:r>
              <a:rPr lang="en-US" dirty="0"/>
              <a:t>click to edit section name</a:t>
            </a:r>
            <a:endParaRPr lang="en-GB" dirty="0"/>
          </a:p>
        </p:txBody>
      </p:sp>
      <p:pic>
        <p:nvPicPr>
          <p:cNvPr id="6" name="Picture 8" descr="logo_ED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5297" y="448922"/>
            <a:ext cx="2016295" cy="79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93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26589" y="1395417"/>
            <a:ext cx="6308139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926589" y="2954339"/>
            <a:ext cx="6308139" cy="1485900"/>
          </a:xfrm>
        </p:spPr>
        <p:txBody>
          <a:bodyPr/>
          <a:lstStyle>
            <a:lvl1pPr marL="0" indent="0">
              <a:buFont typeface="Lucida Sans Unicode" charset="0"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62204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66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5" y="1454400"/>
            <a:ext cx="7594102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8174710" y="1455308"/>
            <a:ext cx="3768502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04238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90022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2833" y="4406903"/>
            <a:ext cx="10360501" cy="1362075"/>
          </a:xfrm>
        </p:spPr>
        <p:txBody>
          <a:bodyPr/>
          <a:lstStyle>
            <a:lvl1pPr algn="l">
              <a:defRPr sz="3999" b="1" cap="all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6" indent="0">
              <a:buNone/>
              <a:defRPr sz="1800"/>
            </a:lvl2pPr>
            <a:lvl3pPr marL="914171" indent="0">
              <a:buNone/>
              <a:defRPr sz="1600"/>
            </a:lvl3pPr>
            <a:lvl4pPr marL="1371257" indent="0">
              <a:buNone/>
              <a:defRPr sz="1400"/>
            </a:lvl4pPr>
            <a:lvl5pPr marL="1828343" indent="0">
              <a:buNone/>
              <a:defRPr sz="1400"/>
            </a:lvl5pPr>
            <a:lvl6pPr marL="2285429" indent="0">
              <a:buNone/>
              <a:defRPr sz="1400"/>
            </a:lvl6pPr>
            <a:lvl7pPr marL="2742514" indent="0">
              <a:buNone/>
              <a:defRPr sz="1400"/>
            </a:lvl7pPr>
            <a:lvl8pPr marL="3199600" indent="0">
              <a:buNone/>
              <a:defRPr sz="1400"/>
            </a:lvl8pPr>
            <a:lvl9pPr marL="365668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23644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86219" y="1455740"/>
            <a:ext cx="5728327" cy="4632325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2000">
                <a:latin typeface="Verdana"/>
                <a:cs typeface="Verdana"/>
              </a:defRPr>
            </a:lvl3pPr>
            <a:lvl4pPr>
              <a:defRPr sz="1800">
                <a:latin typeface="Verdana"/>
                <a:cs typeface="Verdana"/>
              </a:defRPr>
            </a:lvl4pPr>
            <a:lvl5pPr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17691" y="1455740"/>
            <a:ext cx="5728325" cy="4632325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2000">
                <a:latin typeface="Verdana"/>
                <a:cs typeface="Verdana"/>
              </a:defRPr>
            </a:lvl3pPr>
            <a:lvl4pPr>
              <a:defRPr sz="1800">
                <a:latin typeface="Verdana"/>
                <a:cs typeface="Verdana"/>
              </a:defRPr>
            </a:lvl4pPr>
            <a:lvl5pPr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08939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086" indent="0">
              <a:buNone/>
              <a:defRPr sz="2000" b="1"/>
            </a:lvl2pPr>
            <a:lvl3pPr marL="914171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2000">
                <a:latin typeface="Verdana"/>
                <a:cs typeface="Verdana"/>
              </a:defRPr>
            </a:lvl1pPr>
            <a:lvl2pPr>
              <a:defRPr sz="2000">
                <a:latin typeface="Verdana"/>
                <a:cs typeface="Verdana"/>
              </a:defRPr>
            </a:lvl2pPr>
            <a:lvl3pPr>
              <a:defRPr sz="1800">
                <a:latin typeface="Verdana"/>
                <a:cs typeface="Verdana"/>
              </a:defRPr>
            </a:lvl3pPr>
            <a:lvl4pPr>
              <a:defRPr sz="1600">
                <a:latin typeface="Verdana"/>
                <a:cs typeface="Verdana"/>
              </a:defRPr>
            </a:lvl4pPr>
            <a:lvl5pPr>
              <a:defRPr sz="16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1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086" indent="0">
              <a:buNone/>
              <a:defRPr sz="2000" b="1"/>
            </a:lvl2pPr>
            <a:lvl3pPr marL="914171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1" cy="3951288"/>
          </a:xfrm>
        </p:spPr>
        <p:txBody>
          <a:bodyPr/>
          <a:lstStyle>
            <a:lvl1pPr>
              <a:defRPr sz="2000">
                <a:latin typeface="Verdana"/>
                <a:cs typeface="Verdana"/>
              </a:defRPr>
            </a:lvl1pPr>
            <a:lvl2pPr>
              <a:defRPr sz="2000">
                <a:latin typeface="Verdana"/>
                <a:cs typeface="Verdana"/>
              </a:defRPr>
            </a:lvl2pPr>
            <a:lvl3pPr>
              <a:defRPr sz="1800">
                <a:latin typeface="Verdana"/>
                <a:cs typeface="Verdana"/>
              </a:defRPr>
            </a:lvl3pPr>
            <a:lvl4pPr>
              <a:defRPr sz="1600">
                <a:latin typeface="Verdana"/>
                <a:cs typeface="Verdana"/>
              </a:defRPr>
            </a:lvl4pPr>
            <a:lvl5pPr>
              <a:defRPr sz="16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73453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73834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95518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442" y="273049"/>
            <a:ext cx="4010039" cy="9694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5492" y="273053"/>
            <a:ext cx="6813892" cy="5853113"/>
          </a:xfrm>
        </p:spPr>
        <p:txBody>
          <a:bodyPr/>
          <a:lstStyle>
            <a:lvl1pPr>
              <a:defRPr sz="2000"/>
            </a:lvl1pPr>
            <a:lvl2pPr>
              <a:defRPr sz="2000">
                <a:latin typeface="Verdana"/>
                <a:cs typeface="Verdana"/>
              </a:defRPr>
            </a:lvl2pPr>
            <a:lvl3pPr>
              <a:defRPr sz="2000">
                <a:latin typeface="Verdana"/>
                <a:cs typeface="Verdana"/>
              </a:defRPr>
            </a:lvl3pPr>
            <a:lvl4pPr>
              <a:defRPr sz="2000">
                <a:latin typeface="Verdana"/>
                <a:cs typeface="Verdana"/>
              </a:defRPr>
            </a:lvl4pPr>
            <a:lvl5pPr>
              <a:defRPr sz="2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442" y="1435103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86" indent="0">
              <a:buNone/>
              <a:defRPr sz="1200"/>
            </a:lvl2pPr>
            <a:lvl3pPr marL="914171" indent="0">
              <a:buNone/>
              <a:defRPr sz="1000"/>
            </a:lvl3pPr>
            <a:lvl4pPr marL="1371257" indent="0">
              <a:buNone/>
              <a:defRPr sz="900"/>
            </a:lvl4pPr>
            <a:lvl5pPr marL="1828343" indent="0">
              <a:buNone/>
              <a:defRPr sz="900"/>
            </a:lvl5pPr>
            <a:lvl6pPr marL="2285429" indent="0">
              <a:buNone/>
              <a:defRPr sz="900"/>
            </a:lvl6pPr>
            <a:lvl7pPr marL="2742514" indent="0">
              <a:buNone/>
              <a:defRPr sz="900"/>
            </a:lvl7pPr>
            <a:lvl8pPr marL="3199600" indent="0">
              <a:buNone/>
              <a:defRPr sz="900"/>
            </a:lvl8pPr>
            <a:lvl9pPr marL="365668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11403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199"/>
            </a:lvl1pPr>
            <a:lvl2pPr marL="457086" indent="0">
              <a:buNone/>
              <a:defRPr sz="2799"/>
            </a:lvl2pPr>
            <a:lvl3pPr marL="914171" indent="0">
              <a:buNone/>
              <a:defRPr sz="2399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086" indent="0">
              <a:buNone/>
              <a:defRPr sz="1200"/>
            </a:lvl2pPr>
            <a:lvl3pPr marL="914171" indent="0">
              <a:buNone/>
              <a:defRPr sz="1000"/>
            </a:lvl3pPr>
            <a:lvl4pPr marL="1371257" indent="0">
              <a:buNone/>
              <a:defRPr sz="900"/>
            </a:lvl4pPr>
            <a:lvl5pPr marL="1828343" indent="0">
              <a:buNone/>
              <a:defRPr sz="900"/>
            </a:lvl5pPr>
            <a:lvl6pPr marL="2285429" indent="0">
              <a:buNone/>
              <a:defRPr sz="900"/>
            </a:lvl6pPr>
            <a:lvl7pPr marL="2742514" indent="0">
              <a:buNone/>
              <a:defRPr sz="900"/>
            </a:lvl7pPr>
            <a:lvl8pPr marL="3199600" indent="0">
              <a:buNone/>
              <a:defRPr sz="900"/>
            </a:lvl8pPr>
            <a:lvl9pPr marL="365668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37765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06375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932125" y="376241"/>
            <a:ext cx="2913892" cy="57118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86219" y="376241"/>
            <a:ext cx="8542760" cy="5711825"/>
          </a:xfrm>
        </p:spPr>
        <p:txBody>
          <a:bodyPr vert="eaVert"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8286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3:33:33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575" y="1454400"/>
            <a:ext cx="3797051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8174710" y="1454400"/>
            <a:ext cx="3768502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231642" y="1454400"/>
            <a:ext cx="3797051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6775156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85"/>
          <a:stretch/>
        </p:blipFill>
        <p:spPr>
          <a:xfrm>
            <a:off x="-28134" y="0"/>
            <a:ext cx="1221695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630" y="1604798"/>
            <a:ext cx="11076243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999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834" y="3094328"/>
            <a:ext cx="11080039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32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300"/>
          <a:stretch/>
        </p:blipFill>
        <p:spPr bwMode="auto">
          <a:xfrm>
            <a:off x="9977825" y="5830238"/>
            <a:ext cx="1996727" cy="735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74" y="6278646"/>
            <a:ext cx="4160108" cy="43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77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Boston-Matrix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88575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561" y="1274234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84561" y="3717032"/>
            <a:ext cx="5709851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72210" y="1274234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272210" y="3717033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35273" y="3660323"/>
            <a:ext cx="11710251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184926" y="1263287"/>
            <a:ext cx="0" cy="48965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12045524" y="1268004"/>
            <a:ext cx="0" cy="48965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73" y="1263287"/>
            <a:ext cx="0" cy="48965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062419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2nd top line 4 x Quarters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561" y="1274234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1099" y="164637"/>
            <a:ext cx="11660963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he head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84561" y="3717032"/>
            <a:ext cx="5709851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72210" y="1274234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272210" y="3717033"/>
            <a:ext cx="5709851" cy="23042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39287" y="3660323"/>
            <a:ext cx="11806237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184926" y="1220755"/>
            <a:ext cx="0" cy="48965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95796" y="6599489"/>
            <a:ext cx="365485" cy="1667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5343">
              <a:lnSpc>
                <a:spcPts val="1332"/>
              </a:lnSpc>
            </a:pPr>
            <a:fld id="{81D60167-4931-47E6-BA6A-407CBD079E47}" type="slidenum">
              <a:rPr lang="en-US" sz="1200" smtClean="0">
                <a:cs typeface="Verdana"/>
              </a:rPr>
              <a:pPr marL="25343">
                <a:lnSpc>
                  <a:spcPts val="1332"/>
                </a:lnSpc>
              </a:pPr>
              <a:t>‹N°›</a:t>
            </a:fld>
            <a:endParaRPr lang="en-US" sz="1066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04448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3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0317" y="6542765"/>
            <a:ext cx="590870" cy="288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10" name="AddCustomFooter#1"/>
          <p:cNvSpPr txBox="1"/>
          <p:nvPr/>
        </p:nvSpPr>
        <p:spPr>
          <a:xfrm>
            <a:off x="315518" y="6538023"/>
            <a:ext cx="331129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12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| </a:t>
            </a:r>
            <a:r>
              <a:rPr lang="en-GB" sz="12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Nov-18</a:t>
            </a:r>
            <a:r>
              <a:rPr lang="en-US" sz="1200" baseline="0" dirty="0">
                <a:latin typeface="Verdana" pitchFamily="34" charset="0"/>
                <a:ea typeface="Verdana" pitchFamily="34" charset="0"/>
                <a:cs typeface="Verdana" pitchFamily="34" charset="0"/>
              </a:rPr>
              <a:t> | Consulting/DDL| © Ato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88575" y="1454400"/>
            <a:ext cx="11660963" cy="49509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88575" y="164637"/>
            <a:ext cx="11660963" cy="756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GB" noProof="0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3209555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0" r:id="rId31"/>
    <p:sldLayoutId id="2147483711" r:id="rId32"/>
  </p:sldLayoutIdLst>
  <p:hf hdr="0" ftr="0"/>
  <p:txStyles>
    <p:titleStyle>
      <a:lvl1pPr algn="l" defTabSz="1218895" rtl="0" eaLnBrk="1" latinLnBrk="0" hangingPunct="1">
        <a:spcBef>
          <a:spcPct val="0"/>
        </a:spcBef>
        <a:buNone/>
        <a:defRPr sz="3199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10" indent="-359910" algn="l" defTabSz="1218895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20" indent="-359910" algn="l" defTabSz="1218895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3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4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55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33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1962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88575" y="1454400"/>
            <a:ext cx="11660963" cy="4633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88575" y="164637"/>
            <a:ext cx="11660963" cy="756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 dirty="0"/>
              <a:t>Click to edit the header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307043" y="6293068"/>
            <a:ext cx="342843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12188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79AF32-36D4-7344-A3EF-96AB86137B92}" type="slidenum">
              <a:rPr lang="en-GB" sz="1333" b="0" i="0" smtClean="0">
                <a:solidFill>
                  <a:schemeClr val="tx2"/>
                </a:solidFill>
                <a:latin typeface="Stag LCG Light" charset="0"/>
                <a:ea typeface="Stag LCG Light" charset="0"/>
                <a:cs typeface="Stag LCG Light" charset="0"/>
              </a:rPr>
              <a:pPr marL="0" marR="0" indent="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r>
              <a:rPr lang="en-GB" sz="1333" b="0" i="0" dirty="0">
                <a:solidFill>
                  <a:schemeClr val="tx2"/>
                </a:solidFill>
                <a:latin typeface="Stag LCG Book" charset="0"/>
                <a:ea typeface="Stag LCG Book" charset="0"/>
                <a:cs typeface="Stag LCG Book" charset="0"/>
              </a:rPr>
              <a:t>  |  </a:t>
            </a:r>
            <a:r>
              <a:rPr lang="en-GB" sz="1333" b="0" i="0" dirty="0">
                <a:solidFill>
                  <a:schemeClr val="tx2"/>
                </a:solidFill>
                <a:latin typeface="Stag LCG Light" charset="0"/>
                <a:ea typeface="Stag LCG Light" charset="0"/>
                <a:cs typeface="Stag LCG Light" charset="0"/>
              </a:rPr>
              <a:t>Trusted partner for your </a:t>
            </a:r>
            <a:r>
              <a:rPr lang="en-GB" sz="1333" b="0" i="0" dirty="0">
                <a:solidFill>
                  <a:schemeClr val="tx2"/>
                </a:solidFill>
                <a:latin typeface="Stag Sans LCG Book" charset="0"/>
                <a:ea typeface="Stag Sans LCG Book" charset="0"/>
                <a:cs typeface="Stag Sans LCG Book" charset="0"/>
              </a:rPr>
              <a:t>Digital Journey</a:t>
            </a:r>
          </a:p>
        </p:txBody>
      </p:sp>
    </p:spTree>
    <p:extLst>
      <p:ext uri="{BB962C8B-B14F-4D97-AF65-F5344CB8AC3E}">
        <p14:creationId xmlns:p14="http://schemas.microsoft.com/office/powerpoint/2010/main" val="1735338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/>
  <p:txStyles>
    <p:titleStyle>
      <a:lvl1pPr algn="l" defTabSz="1218895" rtl="0" eaLnBrk="1" latinLnBrk="0" hangingPunct="1">
        <a:spcBef>
          <a:spcPct val="0"/>
        </a:spcBef>
        <a:buNone/>
        <a:defRPr sz="3199" b="0" i="0" kern="1200" baseline="0">
          <a:solidFill>
            <a:schemeClr val="tx1"/>
          </a:solidFill>
          <a:latin typeface="Stag LCG Medium" charset="0"/>
          <a:ea typeface="Stag LCG Medium" charset="0"/>
          <a:cs typeface="Stag LCG Medium" charset="0"/>
        </a:defRPr>
      </a:lvl1pPr>
    </p:titleStyle>
    <p:bodyStyle>
      <a:lvl1pPr marL="359910" indent="-359910" algn="l" defTabSz="1218895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33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1pPr>
      <a:lvl2pPr marL="719820" indent="-359910" algn="l" defTabSz="1218895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33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2pPr>
      <a:lvl3pPr marL="107973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b="0" i="0" kern="120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3pPr>
      <a:lvl4pPr marL="143964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33" b="0" i="0" kern="1200" baseline="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4pPr>
      <a:lvl5pPr marL="1799550" indent="-359910" algn="l" defTabSz="121889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33" b="0" i="0" kern="1200">
          <a:solidFill>
            <a:schemeClr val="tx1"/>
          </a:solidFill>
          <a:latin typeface="Stag Sans LCG Light" charset="0"/>
          <a:ea typeface="Stag Sans LCG Light" charset="0"/>
          <a:cs typeface="Stag Sans LCG Light" charset="0"/>
        </a:defRPr>
      </a:lvl5pPr>
      <a:lvl6pPr marL="3351962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121889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148" y="376239"/>
            <a:ext cx="11642867" cy="760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6220" y="1455740"/>
            <a:ext cx="11659796" cy="463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6401252" y="6535057"/>
            <a:ext cx="825285" cy="23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009" tIns="50006" rIns="100009" bIns="50006" anchor="ctr">
            <a:spAutoFit/>
          </a:bodyPr>
          <a:lstStyle>
            <a:lvl1pPr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1pPr>
            <a:lvl2pPr marL="742950" indent="-28575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2pPr>
            <a:lvl3pPr marL="11430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3pPr>
            <a:lvl4pPr marL="16002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4pPr>
            <a:lvl5pPr marL="2057400" indent="-228600" defTabSz="415925" eaLnBrk="0" hangingPunct="0"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5pPr>
            <a:lvl6pPr marL="25146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6pPr>
            <a:lvl7pPr marL="29718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7pPr>
            <a:lvl8pPr marL="34290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8pPr>
            <a:lvl9pPr marL="3886200" indent="-228600" defTabSz="41592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7725" algn="l"/>
                <a:tab pos="1695450" algn="l"/>
                <a:tab pos="2543175" algn="l"/>
                <a:tab pos="3389313" algn="l"/>
                <a:tab pos="4238625" algn="l"/>
                <a:tab pos="5083175" algn="l"/>
                <a:tab pos="5934075" algn="l"/>
                <a:tab pos="6778625" algn="l"/>
                <a:tab pos="7627938" algn="l"/>
                <a:tab pos="8474075" algn="l"/>
                <a:tab pos="9317038" algn="l"/>
              </a:tabLst>
              <a:defRPr sz="2400">
                <a:solidFill>
                  <a:schemeClr val="tx1"/>
                </a:solidFill>
                <a:latin typeface="Lucida Sans Unicode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ts val="4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7BBDBE16-9CD6-445E-B48B-4D9D7507000B}" type="slidenum">
              <a:rPr lang="en-US" sz="900" smtClean="0">
                <a:solidFill>
                  <a:srgbClr val="818181"/>
                </a:solidFill>
                <a:latin typeface="Lucida Sans" pitchFamily="34" charset="0"/>
              </a:rPr>
              <a:pPr algn="ctr" eaLnBrk="1" hangingPunct="1">
                <a:spcBef>
                  <a:spcPts val="463"/>
                </a:spcBef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N°›</a:t>
            </a:fld>
            <a:endParaRPr lang="en-US" sz="900" dirty="0">
              <a:solidFill>
                <a:srgbClr val="818181"/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9937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6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Verdana" charset="0"/>
          <a:ea typeface="MS PGothic" pitchFamily="34" charset="-128"/>
          <a:cs typeface="Verdana" pitchFamily="34" charset="0"/>
        </a:defRPr>
      </a:lvl5pPr>
      <a:lvl6pPr marL="457086"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6pPr>
      <a:lvl7pPr marL="914171"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7pPr>
      <a:lvl8pPr marL="1371257"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8pPr>
      <a:lvl9pPr marL="1828343" algn="l" rtl="0" eaLnBrk="1" fontAlgn="base" hangingPunct="1">
        <a:spcBef>
          <a:spcPct val="0"/>
        </a:spcBef>
        <a:spcAft>
          <a:spcPct val="0"/>
        </a:spcAft>
        <a:defRPr sz="2399" b="1">
          <a:solidFill>
            <a:srgbClr val="000000"/>
          </a:solidFill>
          <a:latin typeface="Lucida Sans" charset="0"/>
          <a:ea typeface="ＭＳ Ｐゴシック" charset="0"/>
          <a:cs typeface="Arial" charset="0"/>
        </a:defRPr>
      </a:lvl9pPr>
    </p:titleStyle>
    <p:bodyStyle>
      <a:lvl1pPr marL="268221" indent="-268221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Lucida Sans Unicode" pitchFamily="34" charset="0"/>
        <a:buChar char="▶"/>
        <a:defRPr sz="1600">
          <a:solidFill>
            <a:srgbClr val="000000"/>
          </a:solidFill>
          <a:latin typeface="Verdana"/>
          <a:ea typeface="MS PGothic" pitchFamily="34" charset="-128"/>
          <a:cs typeface="Verdana"/>
        </a:defRPr>
      </a:lvl1pPr>
      <a:lvl2pPr marL="539616" indent="-269807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–"/>
        <a:defRPr sz="1600">
          <a:solidFill>
            <a:srgbClr val="000000"/>
          </a:solidFill>
          <a:latin typeface="Verdana"/>
          <a:ea typeface="Arial" charset="0"/>
          <a:cs typeface="Verdana"/>
        </a:defRPr>
      </a:lvl2pPr>
      <a:lvl3pPr marL="809423" indent="-268221" algn="l" rtl="0" eaLnBrk="1" fontAlgn="base" hangingPunct="1">
        <a:spcBef>
          <a:spcPct val="20000"/>
        </a:spcBef>
        <a:spcAft>
          <a:spcPct val="0"/>
        </a:spcAft>
        <a:buClr>
          <a:srgbClr val="0066A1"/>
        </a:buClr>
        <a:buFont typeface="Arial" charset="0"/>
        <a:buChar char="•"/>
        <a:defRPr sz="1600">
          <a:solidFill>
            <a:srgbClr val="000000"/>
          </a:solidFill>
          <a:latin typeface="Verdana"/>
          <a:ea typeface="Arial" charset="0"/>
          <a:cs typeface="Verdana"/>
        </a:defRPr>
      </a:lvl3pPr>
      <a:lvl4pPr marL="1080818" indent="-269807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–"/>
        <a:defRPr sz="1600">
          <a:solidFill>
            <a:srgbClr val="000000"/>
          </a:solidFill>
          <a:latin typeface="+mn-lt"/>
          <a:ea typeface="Arial" charset="0"/>
          <a:cs typeface="+mn-cs"/>
        </a:defRPr>
      </a:lvl4pPr>
      <a:lvl5pPr marL="1349037" indent="-268221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rgbClr val="000000"/>
          </a:solidFill>
          <a:latin typeface="+mn-lt"/>
          <a:ea typeface="Arial" charset="0"/>
          <a:cs typeface="+mn-cs"/>
        </a:defRPr>
      </a:lvl5pPr>
      <a:lvl6pPr marL="1806123" indent="-268221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rgbClr val="000000"/>
          </a:solidFill>
          <a:latin typeface="+mn-lt"/>
          <a:ea typeface="Arial" charset="0"/>
          <a:cs typeface="+mn-cs"/>
        </a:defRPr>
      </a:lvl6pPr>
      <a:lvl7pPr marL="2263209" indent="-268221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rgbClr val="000000"/>
          </a:solidFill>
          <a:latin typeface="+mn-lt"/>
          <a:ea typeface="Arial" charset="0"/>
          <a:cs typeface="+mn-cs"/>
        </a:defRPr>
      </a:lvl7pPr>
      <a:lvl8pPr marL="2720294" indent="-268221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rgbClr val="000000"/>
          </a:solidFill>
          <a:latin typeface="+mn-lt"/>
          <a:ea typeface="Arial" charset="0"/>
          <a:cs typeface="+mn-cs"/>
        </a:defRPr>
      </a:lvl8pPr>
      <a:lvl9pPr marL="3177380" indent="-268221" algn="l" rtl="0" eaLnBrk="1" fontAlgn="base" hangingPunct="1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457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6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6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6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6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D53D581-A0BF-40DE-BC83-476535A8FF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lénière – 1 an de thèse</a:t>
            </a:r>
          </a:p>
        </p:txBody>
      </p:sp>
      <p:sp>
        <p:nvSpPr>
          <p:cNvPr id="4" name="Sous-titre 3">
            <a:extLst>
              <a:ext uri="{FF2B5EF4-FFF2-40B4-BE49-F238E27FC236}">
                <a16:creationId xmlns:a16="http://schemas.microsoft.com/office/drawing/2014/main" id="{EFD7019E-7F6F-4701-828F-2360BECF8C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3834" y="3094328"/>
            <a:ext cx="11080039" cy="791872"/>
          </a:xfrm>
        </p:spPr>
        <p:txBody>
          <a:bodyPr/>
          <a:lstStyle/>
          <a:p>
            <a:r>
              <a:rPr lang="fr-FR" sz="1600" dirty="0"/>
              <a:t>Manon Mottier</a:t>
            </a:r>
          </a:p>
        </p:txBody>
      </p:sp>
    </p:spTree>
    <p:extLst>
      <p:ext uri="{BB962C8B-B14F-4D97-AF65-F5344CB8AC3E}">
        <p14:creationId xmlns:p14="http://schemas.microsoft.com/office/powerpoint/2010/main" val="320108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) Clustering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700" b="1" dirty="0"/>
              <a:t>Vocabulaire</a:t>
            </a:r>
          </a:p>
          <a:p>
            <a:endParaRPr lang="fr-FR" sz="17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700" b="1" dirty="0"/>
              <a:t>Core distance</a:t>
            </a:r>
            <a:r>
              <a:rPr lang="fr-FR" sz="1700" dirty="0"/>
              <a:t>: distance avec le </a:t>
            </a:r>
            <a:r>
              <a:rPr lang="fr-FR" sz="1700" dirty="0" err="1"/>
              <a:t>MinPts</a:t>
            </a:r>
            <a:r>
              <a:rPr lang="fr-FR" sz="1700" dirty="0"/>
              <a:t> </a:t>
            </a:r>
            <a:r>
              <a:rPr lang="fr-FR" sz="1700" dirty="0" err="1"/>
              <a:t>ième</a:t>
            </a:r>
            <a:r>
              <a:rPr lang="fr-FR" sz="1700" dirty="0"/>
              <a:t> point le plus proche; distance minimale afin qu’un point soit considéré comme un </a:t>
            </a:r>
            <a:r>
              <a:rPr lang="fr-FR" sz="1700" dirty="0" err="1"/>
              <a:t>core</a:t>
            </a:r>
            <a:r>
              <a:rPr lang="fr-FR" sz="1700" dirty="0"/>
              <a:t>-point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7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700" b="1" dirty="0" err="1"/>
              <a:t>Mutual</a:t>
            </a:r>
            <a:r>
              <a:rPr lang="fr-FR" sz="1700" b="1" dirty="0"/>
              <a:t> </a:t>
            </a:r>
            <a:r>
              <a:rPr lang="fr-FR" sz="1700" b="1" dirty="0" err="1"/>
              <a:t>reachability</a:t>
            </a:r>
            <a:r>
              <a:rPr lang="fr-FR" sz="1700" b="1" dirty="0"/>
              <a:t> distance </a:t>
            </a:r>
            <a:r>
              <a:rPr lang="fr-FR" sz="1700" dirty="0"/>
              <a:t>: Métrique permettant de sélectionner une distance entre les points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700" dirty="0"/>
          </a:p>
          <a:p>
            <a:pPr marL="811011" lvl="3" indent="0" algn="ctr">
              <a:buNone/>
            </a:pPr>
            <a:r>
              <a:rPr lang="fr-FR" sz="1700" dirty="0" err="1"/>
              <a:t>Mutual</a:t>
            </a:r>
            <a:r>
              <a:rPr lang="fr-FR" sz="1700" dirty="0"/>
              <a:t>-</a:t>
            </a:r>
            <a:r>
              <a:rPr lang="fr-FR" sz="1700" dirty="0" err="1"/>
              <a:t>reachability</a:t>
            </a:r>
            <a:r>
              <a:rPr lang="fr-FR" sz="1700" dirty="0"/>
              <a:t>-distance(A,B) = max{</a:t>
            </a:r>
            <a:r>
              <a:rPr lang="fr-FR" sz="1700" dirty="0" err="1"/>
              <a:t>core</a:t>
            </a:r>
            <a:r>
              <a:rPr lang="fr-FR" sz="1700" dirty="0"/>
              <a:t>-distance(A), </a:t>
            </a:r>
            <a:r>
              <a:rPr lang="fr-FR" sz="1700" dirty="0" err="1"/>
              <a:t>core</a:t>
            </a:r>
            <a:r>
              <a:rPr lang="fr-FR" sz="1700" dirty="0"/>
              <a:t>-distance(B), d(A,B)}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7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700" b="1" dirty="0"/>
              <a:t>Arbre couvrant minimal</a:t>
            </a:r>
            <a:r>
              <a:rPr lang="fr-FR" sz="1700" dirty="0"/>
              <a:t>: issu de la théorie des graphes il s’agit de l’arbre reliant tous les points par le chemin le plus court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7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700" b="1" dirty="0"/>
              <a:t>Algorithme de Prim</a:t>
            </a:r>
            <a:r>
              <a:rPr lang="fr-FR" sz="1700" dirty="0"/>
              <a:t>: départ d’un arbre initial à un seul sommet et augmentation de la taille de cet arbre en ajoutant à chaque itération une connexion de poids minimale avec son plus proche voisin</a:t>
            </a:r>
          </a:p>
          <a:p>
            <a:endParaRPr lang="fr-FR" sz="1700" dirty="0"/>
          </a:p>
          <a:p>
            <a:endParaRPr lang="fr-FR" sz="1700" dirty="0"/>
          </a:p>
          <a:p>
            <a:endParaRPr lang="fr-FR" sz="1700" dirty="0"/>
          </a:p>
          <a:p>
            <a:endParaRPr lang="fr-FR" sz="1700" dirty="0"/>
          </a:p>
        </p:txBody>
      </p:sp>
    </p:spTree>
    <p:extLst>
      <p:ext uri="{BB962C8B-B14F-4D97-AF65-F5344CB8AC3E}">
        <p14:creationId xmlns:p14="http://schemas.microsoft.com/office/powerpoint/2010/main" val="2973499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) Clustering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295400"/>
            <a:ext cx="11242192" cy="4876800"/>
          </a:xfrm>
        </p:spPr>
        <p:txBody>
          <a:bodyPr/>
          <a:lstStyle/>
          <a:p>
            <a:r>
              <a:rPr lang="fr-FR" sz="1500" b="1" dirty="0"/>
              <a:t>Fonctionnement HDBSCAN</a:t>
            </a:r>
            <a:endParaRPr lang="fr-FR" sz="1500" dirty="0"/>
          </a:p>
          <a:p>
            <a:pPr lvl="2"/>
            <a:endParaRPr lang="fr-FR" sz="105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500" dirty="0"/>
              <a:t>Transformation de l’espace selon les densités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Calcul des </a:t>
            </a:r>
            <a:r>
              <a:rPr lang="fr-FR" sz="1500" dirty="0" err="1"/>
              <a:t>cores</a:t>
            </a:r>
            <a:r>
              <a:rPr lang="fr-FR" sz="1500" dirty="0"/>
              <a:t>-distances de chaque point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Calcul de la </a:t>
            </a:r>
            <a:r>
              <a:rPr lang="fr-FR" sz="1500" dirty="0" err="1"/>
              <a:t>mutual</a:t>
            </a:r>
            <a:r>
              <a:rPr lang="fr-FR" sz="1500" dirty="0"/>
              <a:t> </a:t>
            </a:r>
            <a:r>
              <a:rPr lang="fr-FR" sz="1500" dirty="0" err="1"/>
              <a:t>reachability</a:t>
            </a:r>
            <a:r>
              <a:rPr lang="fr-FR" sz="1500" dirty="0"/>
              <a:t> distance 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Construction de la matrice de distance entre les points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5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500" dirty="0"/>
              <a:t>Transformation des données en un arbre pondéré (arbre couvrant minimal)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Les sommets représentent les points et les arêtes la </a:t>
            </a:r>
            <a:r>
              <a:rPr lang="fr-FR" sz="1500" dirty="0" err="1"/>
              <a:t>mutual</a:t>
            </a:r>
            <a:r>
              <a:rPr lang="fr-FR" sz="1500" dirty="0"/>
              <a:t> </a:t>
            </a:r>
            <a:r>
              <a:rPr lang="fr-FR" sz="1500" dirty="0" err="1"/>
              <a:t>reachability</a:t>
            </a:r>
            <a:r>
              <a:rPr lang="fr-FR" sz="1500" dirty="0"/>
              <a:t> distance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Récupération de l'arbre minimal via l'algorithme de Prim</a:t>
            </a:r>
          </a:p>
          <a:p>
            <a:pPr lvl="4">
              <a:buFont typeface="Wingdings" panose="05000000000000000000" pitchFamily="2" charset="2"/>
              <a:buChar char="Ø"/>
            </a:pPr>
            <a:endParaRPr lang="fr-FR" sz="15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500" dirty="0"/>
              <a:t>Construction d’un clustering hiérarchique à partir de cet arbre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Triage des arêtes par ordre croissant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Affichage des résultats sous forme de dendrogramme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15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1500" dirty="0"/>
              <a:t>Extractions des clusters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Calcul pour chaque point de la valeur seuil à partir de laquelle le point sort du cluster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1500" dirty="0"/>
              <a:t>Calcul d’une mesure de stabilité à partir des valeur précédentes</a:t>
            </a:r>
          </a:p>
        </p:txBody>
      </p:sp>
    </p:spTree>
    <p:extLst>
      <p:ext uri="{BB962C8B-B14F-4D97-AF65-F5344CB8AC3E}">
        <p14:creationId xmlns:p14="http://schemas.microsoft.com/office/powerpoint/2010/main" val="2298479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) Clustering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A66C28C-1348-4BC9-8051-77C3B8E0BB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642" y="1371763"/>
            <a:ext cx="5247244" cy="4650183"/>
          </a:xfrm>
          <a:prstGeom prst="rect">
            <a:avLst/>
          </a:prstGeom>
        </p:spPr>
      </p:pic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6CB1806B-8392-4D79-B553-5C2154FA76A7}"/>
              </a:ext>
            </a:extLst>
          </p:cNvPr>
          <p:cNvSpPr txBox="1">
            <a:spLocks/>
          </p:cNvSpPr>
          <p:nvPr/>
        </p:nvSpPr>
        <p:spPr bwMode="auto">
          <a:xfrm>
            <a:off x="336707" y="1295400"/>
            <a:ext cx="6441592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>
            <a:lvl1pPr marL="268221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6A1"/>
              </a:buClr>
              <a:buFont typeface="Lucida Sans Unicode" pitchFamily="34" charset="0"/>
              <a:buChar char="▶"/>
              <a:defRPr sz="1600">
                <a:solidFill>
                  <a:srgbClr val="000000"/>
                </a:solidFill>
                <a:latin typeface="Verdana"/>
                <a:ea typeface="MS PGothic" pitchFamily="34" charset="-128"/>
                <a:cs typeface="Verdana"/>
              </a:defRPr>
            </a:lvl1pPr>
            <a:lvl2pPr marL="539616" indent="-26980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6A1"/>
              </a:buClr>
              <a:buFont typeface="Arial" charset="0"/>
              <a:buChar char="–"/>
              <a:defRPr sz="160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2pPr>
            <a:lvl3pPr marL="809423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6A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3pPr>
            <a:lvl4pPr marL="1080818" indent="-26980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–"/>
              <a:defRPr sz="160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4pPr>
            <a:lvl5pPr marL="1349037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»"/>
              <a:defRPr sz="160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5pPr>
            <a:lvl6pPr marL="1806123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»"/>
              <a:defRPr sz="1600">
                <a:solidFill>
                  <a:srgbClr val="000000"/>
                </a:solidFill>
                <a:latin typeface="+mn-lt"/>
                <a:ea typeface="Arial" charset="0"/>
                <a:cs typeface="+mn-cs"/>
              </a:defRPr>
            </a:lvl6pPr>
            <a:lvl7pPr marL="2263209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»"/>
              <a:defRPr sz="1600">
                <a:solidFill>
                  <a:srgbClr val="000000"/>
                </a:solidFill>
                <a:latin typeface="+mn-lt"/>
                <a:ea typeface="Arial" charset="0"/>
                <a:cs typeface="+mn-cs"/>
              </a:defRPr>
            </a:lvl7pPr>
            <a:lvl8pPr marL="2720294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»"/>
              <a:defRPr sz="1600">
                <a:solidFill>
                  <a:srgbClr val="000000"/>
                </a:solidFill>
                <a:latin typeface="+mn-lt"/>
                <a:ea typeface="Arial" charset="0"/>
                <a:cs typeface="+mn-cs"/>
              </a:defRPr>
            </a:lvl8pPr>
            <a:lvl9pPr marL="3177380" indent="-2682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5A2"/>
              </a:buClr>
              <a:buFont typeface="Arial" charset="0"/>
              <a:buChar char="»"/>
              <a:defRPr sz="1600">
                <a:solidFill>
                  <a:srgbClr val="000000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defTabSz="914400"/>
            <a:r>
              <a:rPr lang="fr-FR" b="1" kern="0" dirty="0"/>
              <a:t>Exemple</a:t>
            </a:r>
          </a:p>
          <a:p>
            <a:pPr defTabSz="914400"/>
            <a:endParaRPr lang="fr-FR" sz="1200" kern="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Paramètres :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dirty="0"/>
          </a:p>
          <a:p>
            <a:pPr lvl="3">
              <a:buFont typeface="Wingdings" panose="05000000000000000000" pitchFamily="2" charset="2"/>
              <a:buChar char="Ø"/>
            </a:pPr>
            <a:r>
              <a:rPr lang="fr-FR" dirty="0"/>
              <a:t>MintPts = 5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FR" dirty="0"/>
              <a:t>Eps = 2</a:t>
            </a:r>
          </a:p>
          <a:p>
            <a:endParaRPr lang="fr-FR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 err="1"/>
              <a:t>Mutual</a:t>
            </a:r>
            <a:r>
              <a:rPr lang="fr-FR" dirty="0"/>
              <a:t>-</a:t>
            </a:r>
            <a:r>
              <a:rPr lang="fr-FR" dirty="0" err="1"/>
              <a:t>reachability</a:t>
            </a:r>
            <a:r>
              <a:rPr lang="fr-FR" dirty="0"/>
              <a:t>-distance : 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dirty="0"/>
          </a:p>
          <a:p>
            <a:pPr lvl="3">
              <a:buFont typeface="Wingdings" panose="05000000000000000000" pitchFamily="2" charset="2"/>
              <a:buChar char="Ø"/>
            </a:pPr>
            <a:r>
              <a:rPr lang="fr-FR" dirty="0"/>
              <a:t>A et B: </a:t>
            </a:r>
            <a:r>
              <a:rPr lang="fr-FR" dirty="0" err="1"/>
              <a:t>core</a:t>
            </a:r>
            <a:r>
              <a:rPr lang="fr-FR" dirty="0"/>
              <a:t>-distance(B)&gt; d(A,B) &gt; </a:t>
            </a:r>
            <a:r>
              <a:rPr lang="fr-FR" dirty="0" err="1"/>
              <a:t>core</a:t>
            </a:r>
            <a:r>
              <a:rPr lang="fr-FR" dirty="0"/>
              <a:t>-distance(B) donc </a:t>
            </a:r>
            <a:r>
              <a:rPr lang="fr-FR" dirty="0" err="1"/>
              <a:t>mutual</a:t>
            </a:r>
            <a:r>
              <a:rPr lang="fr-FR" dirty="0"/>
              <a:t>-</a:t>
            </a:r>
            <a:r>
              <a:rPr lang="fr-FR" dirty="0" err="1"/>
              <a:t>reachability</a:t>
            </a:r>
            <a:r>
              <a:rPr lang="fr-FR" dirty="0"/>
              <a:t>-distance(A,B) = </a:t>
            </a:r>
            <a:r>
              <a:rPr lang="fr-FR" dirty="0" err="1"/>
              <a:t>core</a:t>
            </a:r>
            <a:r>
              <a:rPr lang="fr-FR" dirty="0"/>
              <a:t>-distance(B)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FR" dirty="0"/>
              <a:t>A et C: </a:t>
            </a:r>
            <a:r>
              <a:rPr lang="fr-FR" dirty="0" err="1"/>
              <a:t>core</a:t>
            </a:r>
            <a:r>
              <a:rPr lang="fr-FR" dirty="0"/>
              <a:t>-distance(C)&gt; d(A,C) &gt; </a:t>
            </a:r>
            <a:r>
              <a:rPr lang="fr-FR" dirty="0" err="1"/>
              <a:t>core</a:t>
            </a:r>
            <a:r>
              <a:rPr lang="fr-FR" dirty="0"/>
              <a:t>-distance(A) donc </a:t>
            </a:r>
            <a:r>
              <a:rPr lang="fr-FR" dirty="0" err="1"/>
              <a:t>mutual</a:t>
            </a:r>
            <a:r>
              <a:rPr lang="fr-FR" dirty="0"/>
              <a:t>-</a:t>
            </a:r>
            <a:r>
              <a:rPr lang="fr-FR" dirty="0" err="1"/>
              <a:t>reachability</a:t>
            </a:r>
            <a:r>
              <a:rPr lang="fr-FR" dirty="0"/>
              <a:t>-distance(C,A) = d(C)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FR" dirty="0"/>
              <a:t>B et C : d(B, C) &gt; </a:t>
            </a:r>
            <a:r>
              <a:rPr lang="fr-FR" dirty="0" err="1"/>
              <a:t>core</a:t>
            </a:r>
            <a:r>
              <a:rPr lang="fr-FR" dirty="0"/>
              <a:t>-distance(B) &gt; </a:t>
            </a:r>
            <a:r>
              <a:rPr lang="fr-FR" dirty="0" err="1"/>
              <a:t>core</a:t>
            </a:r>
            <a:r>
              <a:rPr lang="fr-FR" dirty="0"/>
              <a:t>-distance(C) donc </a:t>
            </a:r>
            <a:r>
              <a:rPr lang="fr-FR" dirty="0" err="1"/>
              <a:t>mutual</a:t>
            </a:r>
            <a:r>
              <a:rPr lang="fr-FR" dirty="0"/>
              <a:t>-</a:t>
            </a:r>
            <a:r>
              <a:rPr lang="fr-FR" dirty="0" err="1"/>
              <a:t>reachability</a:t>
            </a:r>
            <a:r>
              <a:rPr lang="fr-FR" dirty="0"/>
              <a:t>-distance(B,C) = d(B, C)</a:t>
            </a:r>
          </a:p>
          <a:p>
            <a:pPr lvl="2"/>
            <a:endParaRPr lang="fr-FR" dirty="0"/>
          </a:p>
          <a:p>
            <a:pPr marL="0" indent="0" defTabSz="914400">
              <a:buNone/>
            </a:pPr>
            <a:endParaRPr lang="fr-FR" kern="0" dirty="0"/>
          </a:p>
          <a:p>
            <a:pPr defTabSz="914400"/>
            <a:endParaRPr lang="fr-FR" kern="0" dirty="0"/>
          </a:p>
          <a:p>
            <a:pPr defTabSz="914400"/>
            <a:endParaRPr lang="fr-FR" kern="0" dirty="0"/>
          </a:p>
          <a:p>
            <a:pPr defTabSz="914400"/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1526188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paraison des méthodes de clustering</a:t>
            </a:r>
          </a:p>
        </p:txBody>
      </p:sp>
      <p:graphicFrame>
        <p:nvGraphicFramePr>
          <p:cNvPr id="4" name="Tableau 7">
            <a:extLst>
              <a:ext uri="{FF2B5EF4-FFF2-40B4-BE49-F238E27FC236}">
                <a16:creationId xmlns:a16="http://schemas.microsoft.com/office/drawing/2014/main" id="{2E965168-63C0-412C-A018-506EB345EA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392412"/>
              </p:ext>
            </p:extLst>
          </p:nvPr>
        </p:nvGraphicFramePr>
        <p:xfrm>
          <a:off x="303212" y="1524000"/>
          <a:ext cx="11550119" cy="4201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6772">
                  <a:extLst>
                    <a:ext uri="{9D8B030D-6E8A-4147-A177-3AD203B41FA5}">
                      <a16:colId xmlns:a16="http://schemas.microsoft.com/office/drawing/2014/main" val="3015057700"/>
                    </a:ext>
                  </a:extLst>
                </a:gridCol>
                <a:gridCol w="2710904">
                  <a:extLst>
                    <a:ext uri="{9D8B030D-6E8A-4147-A177-3AD203B41FA5}">
                      <a16:colId xmlns:a16="http://schemas.microsoft.com/office/drawing/2014/main" val="1040622753"/>
                    </a:ext>
                  </a:extLst>
                </a:gridCol>
                <a:gridCol w="1430717">
                  <a:extLst>
                    <a:ext uri="{9D8B030D-6E8A-4147-A177-3AD203B41FA5}">
                      <a16:colId xmlns:a16="http://schemas.microsoft.com/office/drawing/2014/main" val="1236699452"/>
                    </a:ext>
                  </a:extLst>
                </a:gridCol>
                <a:gridCol w="1067212">
                  <a:extLst>
                    <a:ext uri="{9D8B030D-6E8A-4147-A177-3AD203B41FA5}">
                      <a16:colId xmlns:a16="http://schemas.microsoft.com/office/drawing/2014/main" val="4005805739"/>
                    </a:ext>
                  </a:extLst>
                </a:gridCol>
                <a:gridCol w="1279099">
                  <a:extLst>
                    <a:ext uri="{9D8B030D-6E8A-4147-A177-3AD203B41FA5}">
                      <a16:colId xmlns:a16="http://schemas.microsoft.com/office/drawing/2014/main" val="2766167342"/>
                    </a:ext>
                  </a:extLst>
                </a:gridCol>
                <a:gridCol w="1279099">
                  <a:extLst>
                    <a:ext uri="{9D8B030D-6E8A-4147-A177-3AD203B41FA5}">
                      <a16:colId xmlns:a16="http://schemas.microsoft.com/office/drawing/2014/main" val="3028006293"/>
                    </a:ext>
                  </a:extLst>
                </a:gridCol>
                <a:gridCol w="1326603">
                  <a:extLst>
                    <a:ext uri="{9D8B030D-6E8A-4147-A177-3AD203B41FA5}">
                      <a16:colId xmlns:a16="http://schemas.microsoft.com/office/drawing/2014/main" val="3220354910"/>
                    </a:ext>
                  </a:extLst>
                </a:gridCol>
                <a:gridCol w="1199713">
                  <a:extLst>
                    <a:ext uri="{9D8B030D-6E8A-4147-A177-3AD203B41FA5}">
                      <a16:colId xmlns:a16="http://schemas.microsoft.com/office/drawing/2014/main" val="2869115141"/>
                    </a:ext>
                  </a:extLst>
                </a:gridCol>
              </a:tblGrid>
              <a:tr h="1182529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Algorithm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Remarque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Interprétati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Exécuti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Paramétrag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Autorise la recherche de clusters de densités différente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Autorise la recherche de n’importe quelle forme de cluster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Fixation du nombre de clusters à trouver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562240296"/>
                  </a:ext>
                </a:extLst>
              </a:tr>
              <a:tr h="466773">
                <a:tc>
                  <a:txBody>
                    <a:bodyPr/>
                    <a:lstStyle/>
                    <a:p>
                      <a:r>
                        <a:rPr lang="fr-FR" sz="1400" b="1" dirty="0"/>
                        <a:t>DBSCA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ifficile à utiliser en grande dimensi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APID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737077519"/>
                  </a:ext>
                </a:extLst>
              </a:tr>
              <a:tr h="311174">
                <a:tc>
                  <a:txBody>
                    <a:bodyPr/>
                    <a:lstStyle/>
                    <a:p>
                      <a:r>
                        <a:rPr lang="fr-FR" sz="1400" b="1" dirty="0"/>
                        <a:t>OPTIC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rdre des points important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APID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847607859"/>
                  </a:ext>
                </a:extLst>
              </a:tr>
              <a:tr h="466773">
                <a:tc>
                  <a:txBody>
                    <a:bodyPr/>
                    <a:lstStyle/>
                    <a:p>
                      <a:r>
                        <a:rPr lang="fr-FR" sz="1400" b="1" dirty="0"/>
                        <a:t>KMEAN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Hypothèse sur la forme et la taille des cluster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APID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735069093"/>
                  </a:ext>
                </a:extLst>
              </a:tr>
              <a:tr h="653492">
                <a:tc>
                  <a:txBody>
                    <a:bodyPr/>
                    <a:lstStyle/>
                    <a:p>
                      <a:r>
                        <a:rPr lang="fr-FR" sz="1400" b="1" dirty="0"/>
                        <a:t>GMM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Moins restrictif sur la forme des clusters retournés que le Kmean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OMPLIQUE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LONG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OMPLIQU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911946739"/>
                  </a:ext>
                </a:extLst>
              </a:tr>
              <a:tr h="653492">
                <a:tc>
                  <a:txBody>
                    <a:bodyPr/>
                    <a:lstStyle/>
                    <a:p>
                      <a:r>
                        <a:rPr lang="fr-FR" sz="1400" b="1" dirty="0"/>
                        <a:t>FCM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etourne une probabilité d’appartenance aux clusters</a:t>
                      </a:r>
                    </a:p>
                    <a:p>
                      <a:endParaRPr lang="fr-FR" sz="12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OMPLIQUE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LONG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OMPLIQU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3776344790"/>
                  </a:ext>
                </a:extLst>
              </a:tr>
              <a:tr h="466773">
                <a:tc>
                  <a:txBody>
                    <a:bodyPr/>
                    <a:lstStyle/>
                    <a:p>
                      <a:r>
                        <a:rPr lang="fr-FR" sz="1400" b="1" dirty="0"/>
                        <a:t>HDBSCA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Amélioration d’OPTICS et DBSCA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APID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IMPLE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OUI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ON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965491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0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) HAC combiné au Transport optima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371600"/>
            <a:ext cx="11659796" cy="4632325"/>
          </a:xfrm>
        </p:spPr>
        <p:txBody>
          <a:bodyPr/>
          <a:lstStyle/>
          <a:p>
            <a:r>
              <a:rPr lang="fr-FR" sz="2000" b="1" dirty="0"/>
              <a:t>Fonctionnement</a:t>
            </a:r>
            <a:r>
              <a:rPr lang="fr-FR" sz="2000" dirty="0"/>
              <a:t> </a:t>
            </a:r>
          </a:p>
          <a:p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Utilisation d’un clustering agglomératif hiérarchique qui intègre le transport optimal comme distance sur la TOA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2000" dirty="0"/>
              <a:t>Construction d’histogrammes à partir des observations du cluster pour réduire la taille des inputs 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2000" dirty="0"/>
              <a:t>Calcul des distances entre les histogrammes des clusters en utilisant le transport optimal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2000" dirty="0"/>
              <a:t>Agrégation des 2 clusters les plus proches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fr-FR" sz="2000" dirty="0"/>
              <a:t>Répétition des étapes précédentes jusqu’à obtention d’un cluster unique</a:t>
            </a:r>
          </a:p>
          <a:p>
            <a:pPr lvl="4">
              <a:buFont typeface="Wingdings" panose="05000000000000000000" pitchFamily="2" charset="2"/>
              <a:buChar char="Ø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Visualisation des résultats sous forme de dendrogramme 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993435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) HAC combiné au Transport optima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b="1" dirty="0"/>
              <a:t>Transport optimal</a:t>
            </a:r>
            <a:r>
              <a:rPr lang="fr-FR" sz="2000" dirty="0"/>
              <a:t> </a:t>
            </a:r>
          </a:p>
          <a:p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Répartir les points du cluster 1 qui ont une densité d selon la densité f des points du cluster 2 en minimisant le déplacement moyen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Calculer le coût de ce déplacement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Comparer la position des clusters grâce à un coût de déplacement et non plus grâce à une distance</a:t>
            </a:r>
          </a:p>
          <a:p>
            <a:pPr marL="541202" lvl="2" indent="0">
              <a:buNone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775559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) Reconstitution du signa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dirty="0"/>
              <a:t>Construction d’une règle de décision à l’aide de plusieurs métriques non-supervisées afin de couper le dendrogramme </a:t>
            </a:r>
          </a:p>
          <a:p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Silhouette score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Davies-</a:t>
            </a:r>
            <a:r>
              <a:rPr lang="fr-FR" sz="2000" dirty="0" err="1"/>
              <a:t>Bouldin</a:t>
            </a:r>
            <a:r>
              <a:rPr lang="fr-FR" sz="2000" dirty="0"/>
              <a:t> Score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 err="1"/>
              <a:t>Calinski</a:t>
            </a:r>
            <a:r>
              <a:rPr lang="fr-FR" sz="2000" dirty="0"/>
              <a:t> et </a:t>
            </a:r>
            <a:r>
              <a:rPr lang="fr-FR" sz="2000" dirty="0" err="1"/>
              <a:t>Harabasz</a:t>
            </a:r>
            <a:r>
              <a:rPr lang="fr-FR" sz="2000" dirty="0"/>
              <a:t> score</a:t>
            </a:r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1631293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45057C-5C6B-4D1E-A015-5062055B2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pplications </a:t>
            </a:r>
          </a:p>
        </p:txBody>
      </p:sp>
    </p:spTree>
    <p:extLst>
      <p:ext uri="{BB962C8B-B14F-4D97-AF65-F5344CB8AC3E}">
        <p14:creationId xmlns:p14="http://schemas.microsoft.com/office/powerpoint/2010/main" val="4688839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1/7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4632325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143 634 impulsions</a:t>
            </a:r>
          </a:p>
          <a:p>
            <a:endParaRPr lang="fr-FR" dirty="0"/>
          </a:p>
          <a:p>
            <a:r>
              <a:rPr lang="fr-FR" dirty="0"/>
              <a:t>Zoom sur dTOA x TOA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111AD41-B254-4820-9EC2-61CDC5BB5A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3212" y="0"/>
            <a:ext cx="80994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4735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1A1249A6-D447-4F32-84BD-50E4A5F00C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46443" y="1860419"/>
            <a:ext cx="3591569" cy="313716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2/7)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BD27B2B-F493-4060-9CB2-B17B4F43AA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12" y="1638299"/>
            <a:ext cx="2387600" cy="3581401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736EBC3-A81D-4AA3-B394-559F83B1FABB}"/>
              </a:ext>
            </a:extLst>
          </p:cNvPr>
          <p:cNvSpPr/>
          <p:nvPr/>
        </p:nvSpPr>
        <p:spPr>
          <a:xfrm>
            <a:off x="9066211" y="1981200"/>
            <a:ext cx="304800" cy="8382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47E72AC-94BF-402B-8E5F-9F0E8D3B2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6412" y="1638299"/>
            <a:ext cx="2387600" cy="3581401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883DFB-1E74-46A1-B0F0-27545CDA16B7}"/>
              </a:ext>
            </a:extLst>
          </p:cNvPr>
          <p:cNvSpPr/>
          <p:nvPr/>
        </p:nvSpPr>
        <p:spPr>
          <a:xfrm>
            <a:off x="9416737" y="1981200"/>
            <a:ext cx="304800" cy="838200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CA16C09-92AA-4D2F-A842-B37F4B0A83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3412" y="1647824"/>
            <a:ext cx="2387600" cy="3571875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63EBB9D-56EB-4A9D-909F-810D73377E53}"/>
              </a:ext>
            </a:extLst>
          </p:cNvPr>
          <p:cNvSpPr/>
          <p:nvPr/>
        </p:nvSpPr>
        <p:spPr>
          <a:xfrm>
            <a:off x="10726580" y="1981200"/>
            <a:ext cx="778032" cy="38100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286492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073557-2DEB-4DBE-98F0-08CE88D99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la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0A9607-46FA-4001-ACFE-E7CE5C3CA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524000"/>
            <a:ext cx="11659796" cy="4648200"/>
          </a:xfrm>
        </p:spPr>
        <p:txBody>
          <a:bodyPr/>
          <a:lstStyle/>
          <a:p>
            <a:pPr marL="400050" indent="-400050">
              <a:buFont typeface="+mj-lt"/>
              <a:buAutoNum type="romanUcPeriod"/>
            </a:pPr>
            <a:r>
              <a:rPr lang="fr-FR" sz="2800" dirty="0"/>
              <a:t>Introduction</a:t>
            </a:r>
          </a:p>
          <a:p>
            <a:pPr marL="400050" indent="-400050">
              <a:buFont typeface="+mj-lt"/>
              <a:buAutoNum type="romanUcPeriod"/>
            </a:pPr>
            <a:endParaRPr lang="fr-FR" sz="2800" dirty="0"/>
          </a:p>
          <a:p>
            <a:pPr marL="400050" indent="-400050">
              <a:buFont typeface="+mj-lt"/>
              <a:buAutoNum type="romanUcPeriod"/>
            </a:pPr>
            <a:r>
              <a:rPr lang="fr-FR" sz="2800" dirty="0"/>
              <a:t> Rappel stratégie</a:t>
            </a:r>
          </a:p>
          <a:p>
            <a:pPr marL="400050" indent="-400050">
              <a:buFont typeface="+mj-lt"/>
              <a:buAutoNum type="romanUcPeriod"/>
            </a:pPr>
            <a:endParaRPr lang="fr-FR" sz="2800" dirty="0"/>
          </a:p>
          <a:p>
            <a:pPr marL="400050" indent="-400050">
              <a:buFont typeface="+mj-lt"/>
              <a:buAutoNum type="romanUcPeriod"/>
            </a:pPr>
            <a:r>
              <a:rPr lang="fr-FR" sz="2800" dirty="0"/>
              <a:t> Applications</a:t>
            </a:r>
          </a:p>
          <a:p>
            <a:pPr marL="400050" indent="-400050">
              <a:buFont typeface="+mj-lt"/>
              <a:buAutoNum type="romanUcPeriod"/>
            </a:pPr>
            <a:endParaRPr lang="fr-FR" sz="2800" dirty="0"/>
          </a:p>
          <a:p>
            <a:pPr marL="400050" indent="-400050">
              <a:buFont typeface="+mj-lt"/>
              <a:buAutoNum type="romanUcPeriod"/>
            </a:pPr>
            <a:r>
              <a:rPr lang="fr-FR" sz="2800" dirty="0"/>
              <a:t> Conclusions</a:t>
            </a:r>
          </a:p>
          <a:p>
            <a:pPr marL="0" indent="0">
              <a:buNone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709884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995F8DC-6577-4504-8214-56C0483EB5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4507" y="1905000"/>
            <a:ext cx="3519169" cy="307392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3/7)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0DFD8C-BD74-4727-86BC-9C808C0B7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148" y="1600199"/>
            <a:ext cx="2518975" cy="3733800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5A10FC3-0C08-4904-9449-3D570EFD30EC}"/>
              </a:ext>
            </a:extLst>
          </p:cNvPr>
          <p:cNvSpPr/>
          <p:nvPr/>
        </p:nvSpPr>
        <p:spPr>
          <a:xfrm>
            <a:off x="8952627" y="4191000"/>
            <a:ext cx="2932986" cy="45720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BA43123-805C-48D5-96FF-1CCF421BEB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4642" y="1600200"/>
            <a:ext cx="2477770" cy="3733800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A58958B-5EA7-40AA-8748-A703407D88E3}"/>
              </a:ext>
            </a:extLst>
          </p:cNvPr>
          <p:cNvSpPr/>
          <p:nvPr/>
        </p:nvSpPr>
        <p:spPr>
          <a:xfrm>
            <a:off x="8952627" y="3047999"/>
            <a:ext cx="2932986" cy="1524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6071161-4902-4FE3-B21B-83877F7A8A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7843" y="1600200"/>
            <a:ext cx="2477769" cy="3733800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8ADB648-9518-4CE9-80FE-B6D113392DBA}"/>
              </a:ext>
            </a:extLst>
          </p:cNvPr>
          <p:cNvSpPr/>
          <p:nvPr/>
        </p:nvSpPr>
        <p:spPr>
          <a:xfrm>
            <a:off x="8990012" y="3238499"/>
            <a:ext cx="2932986" cy="114300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331633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4/7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clusters trouvés par HBSCAN</a:t>
            </a:r>
          </a:p>
          <a:p>
            <a:endParaRPr lang="fr-FR" dirty="0"/>
          </a:p>
          <a:p>
            <a:pPr marL="0" indent="0">
              <a:buNone/>
            </a:pPr>
            <a:endParaRPr lang="fr-FR" dirty="0"/>
          </a:p>
          <a:p>
            <a:r>
              <a:rPr lang="fr-FR" dirty="0"/>
              <a:t>10 cluster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B789DE2-391E-4A32-A8CD-6112C27ECC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9412" y="0"/>
            <a:ext cx="806212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237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5/7)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FF1BEC6-8092-4408-987D-4F63FE357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3600" y="109537"/>
            <a:ext cx="3705225" cy="674846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F1BAD00-9308-4746-9817-B48EA32276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7612" y="4025479"/>
            <a:ext cx="2716551" cy="1918121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BD0570D-492C-4F8D-8B73-588884688D16}"/>
              </a:ext>
            </a:extLst>
          </p:cNvPr>
          <p:cNvSpPr/>
          <p:nvPr/>
        </p:nvSpPr>
        <p:spPr>
          <a:xfrm>
            <a:off x="8990012" y="5943600"/>
            <a:ext cx="304800" cy="4572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0670DFF-BCE4-4AA3-81E1-5BB2BEABBE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2222" y="1431102"/>
            <a:ext cx="6683882" cy="2356231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39D6B231-AFAB-4881-87DB-DB6E7D661175}"/>
              </a:ext>
            </a:extLst>
          </p:cNvPr>
          <p:cNvCxnSpPr>
            <a:cxnSpLocks/>
            <a:stCxn id="8" idx="1"/>
            <a:endCxn id="7" idx="3"/>
          </p:cNvCxnSpPr>
          <p:nvPr/>
        </p:nvCxnSpPr>
        <p:spPr>
          <a:xfrm flipH="1" flipV="1">
            <a:off x="3934163" y="4984540"/>
            <a:ext cx="5055849" cy="118766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4504C852-36FA-4D7F-957C-C8C2BC33AFC1}"/>
              </a:ext>
            </a:extLst>
          </p:cNvPr>
          <p:cNvCxnSpPr>
            <a:cxnSpLocks/>
            <a:stCxn id="16" idx="1"/>
            <a:endCxn id="9" idx="3"/>
          </p:cNvCxnSpPr>
          <p:nvPr/>
        </p:nvCxnSpPr>
        <p:spPr>
          <a:xfrm flipH="1">
            <a:off x="7276104" y="2597811"/>
            <a:ext cx="1695855" cy="11407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252AA4F5-1BC1-4933-A400-110667287C83}"/>
              </a:ext>
            </a:extLst>
          </p:cNvPr>
          <p:cNvSpPr/>
          <p:nvPr/>
        </p:nvSpPr>
        <p:spPr>
          <a:xfrm>
            <a:off x="8971959" y="2452421"/>
            <a:ext cx="2853581" cy="290779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534161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6/7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Les métriques nous indiquent qu’il faut garder 2 cluster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17D5B4F-7314-44C9-BC01-A02A0DED19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8011" y="0"/>
            <a:ext cx="7770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920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220 (7/7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nouveaux clusters trouvés par HAC + optimal transport distanc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E9FE53-5979-42C2-AB9C-68DE15C2EF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12" y="0"/>
            <a:ext cx="8251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6840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7 (1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4632325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1 424 impulsions</a:t>
            </a:r>
          </a:p>
          <a:p>
            <a:endParaRPr lang="fr-FR" dirty="0"/>
          </a:p>
          <a:p>
            <a:r>
              <a:rPr lang="fr-FR" dirty="0"/>
              <a:t>Zoom sur dTOA x TOA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1EFCA96-1C1E-4796-AA24-82FF1FD12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12" y="0"/>
            <a:ext cx="81674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88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7896E035-C9C4-4827-8709-0A7385F5E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1042" y="2335854"/>
            <a:ext cx="5843170" cy="223614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7 (2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clusters trouvés par HBSCAN</a:t>
            </a:r>
          </a:p>
          <a:p>
            <a:endParaRPr lang="fr-FR" dirty="0"/>
          </a:p>
          <a:p>
            <a:pPr marL="0" indent="0">
              <a:buNone/>
            </a:pPr>
            <a:endParaRPr lang="fr-FR" dirty="0"/>
          </a:p>
          <a:p>
            <a:r>
              <a:rPr lang="fr-FR" dirty="0"/>
              <a:t>16 clusters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BFDF9F64-0105-4B31-AB04-C3321D9A6E86}"/>
              </a:ext>
            </a:extLst>
          </p:cNvPr>
          <p:cNvCxnSpPr>
            <a:cxnSpLocks/>
            <a:stCxn id="10" idx="1"/>
            <a:endCxn id="15" idx="3"/>
          </p:cNvCxnSpPr>
          <p:nvPr/>
        </p:nvCxnSpPr>
        <p:spPr>
          <a:xfrm flipH="1" flipV="1">
            <a:off x="6015582" y="2571924"/>
            <a:ext cx="735764" cy="920966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7770B0-ABE2-4E74-AE9B-AB55D24CE0EA}"/>
              </a:ext>
            </a:extLst>
          </p:cNvPr>
          <p:cNvSpPr/>
          <p:nvPr/>
        </p:nvSpPr>
        <p:spPr>
          <a:xfrm>
            <a:off x="6751346" y="2794780"/>
            <a:ext cx="562266" cy="139622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 w="19050">
                <a:solidFill>
                  <a:schemeClr val="accent4"/>
                </a:solidFill>
              </a:ln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F29825C-92E9-4522-AC88-7B99CBDB7B86}"/>
              </a:ext>
            </a:extLst>
          </p:cNvPr>
          <p:cNvSpPr/>
          <p:nvPr/>
        </p:nvSpPr>
        <p:spPr>
          <a:xfrm>
            <a:off x="7618412" y="2554381"/>
            <a:ext cx="901701" cy="1636619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 w="19050">
                <a:solidFill>
                  <a:schemeClr val="accent4"/>
                </a:solidFill>
              </a:ln>
            </a:endParaRPr>
          </a:p>
        </p:txBody>
      </p: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0E86452F-9DA9-4CED-8380-B98D27896E55}"/>
              </a:ext>
            </a:extLst>
          </p:cNvPr>
          <p:cNvCxnSpPr>
            <a:cxnSpLocks/>
            <a:stCxn id="11" idx="2"/>
            <a:endCxn id="18" idx="3"/>
          </p:cNvCxnSpPr>
          <p:nvPr/>
        </p:nvCxnSpPr>
        <p:spPr>
          <a:xfrm flipH="1">
            <a:off x="6094412" y="4191000"/>
            <a:ext cx="1974851" cy="759913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5" name="Image 14">
            <a:extLst>
              <a:ext uri="{FF2B5EF4-FFF2-40B4-BE49-F238E27FC236}">
                <a16:creationId xmlns:a16="http://schemas.microsoft.com/office/drawing/2014/main" id="{533A4225-78AB-4723-AFD4-BAEFBF4B39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2400" y="1403833"/>
            <a:ext cx="3123182" cy="233618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BB733B2-083C-40F3-A9EB-E18566D0C1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3571" y="3777764"/>
            <a:ext cx="3280841" cy="2346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4001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7 (3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Les métriques nous indiquent qu’il faut garder 2 cluster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7C386DE-A65F-40FA-B12E-FD6DA706A5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3212" y="0"/>
            <a:ext cx="80396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7846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7 (4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nouveaux clusters trouvés par HAC + optimal transport distanc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9575B1B-E403-4E47-9EF4-27478322A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812" y="0"/>
            <a:ext cx="8212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5883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 (1/5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4632325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2 380 impulsions</a:t>
            </a:r>
          </a:p>
          <a:p>
            <a:endParaRPr lang="fr-FR" dirty="0"/>
          </a:p>
          <a:p>
            <a:r>
              <a:rPr lang="fr-FR" dirty="0"/>
              <a:t>Zoom sur dTOA x TOA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1E5F14C-29D3-45F2-A80E-25BB6C07C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11" y="0"/>
            <a:ext cx="8151813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957CF2A-4DBD-42BC-B38A-97325083E2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97" y="3459480"/>
            <a:ext cx="3449203" cy="251936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551F5C7-8A91-46B1-9520-8A07F055DE23}"/>
              </a:ext>
            </a:extLst>
          </p:cNvPr>
          <p:cNvSpPr/>
          <p:nvPr/>
        </p:nvSpPr>
        <p:spPr>
          <a:xfrm>
            <a:off x="8761412" y="6248400"/>
            <a:ext cx="3048000" cy="38100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A9EEE081-C0FE-4033-9048-885650B414F7}"/>
              </a:ext>
            </a:extLst>
          </p:cNvPr>
          <p:cNvCxnSpPr>
            <a:cxnSpLocks/>
            <a:endCxn id="5" idx="3"/>
          </p:cNvCxnSpPr>
          <p:nvPr/>
        </p:nvCxnSpPr>
        <p:spPr>
          <a:xfrm flipH="1" flipV="1">
            <a:off x="3765900" y="4719162"/>
            <a:ext cx="4995512" cy="1762599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747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51ADBF-745D-4AD1-8FEA-19EC48F0D1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2976816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 (2/5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clusters trouvés par HBSCAN</a:t>
            </a:r>
          </a:p>
          <a:p>
            <a:endParaRPr lang="fr-FR" dirty="0"/>
          </a:p>
          <a:p>
            <a:pPr marL="0" indent="0">
              <a:buNone/>
            </a:pPr>
            <a:endParaRPr lang="fr-FR" dirty="0"/>
          </a:p>
          <a:p>
            <a:r>
              <a:rPr lang="fr-FR" dirty="0"/>
              <a:t>13 cluster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1A7FB5A-6A5F-44F3-9A14-5CC5EF5BF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4612" y="1423083"/>
            <a:ext cx="8225024" cy="316627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A9C1A75C-C290-4B12-804D-E1922EFD48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836" y="3203889"/>
            <a:ext cx="3674776" cy="277092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EA6D44D-A58E-4581-BF69-B67A73947824}"/>
              </a:ext>
            </a:extLst>
          </p:cNvPr>
          <p:cNvSpPr/>
          <p:nvPr/>
        </p:nvSpPr>
        <p:spPr>
          <a:xfrm>
            <a:off x="4570413" y="1752600"/>
            <a:ext cx="609600" cy="1524001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189C03C-564B-4BC0-A38D-A71BB7030EC4}"/>
              </a:ext>
            </a:extLst>
          </p:cNvPr>
          <p:cNvCxnSpPr>
            <a:cxnSpLocks/>
            <a:stCxn id="14" idx="2"/>
            <a:endCxn id="6" idx="3"/>
          </p:cNvCxnSpPr>
          <p:nvPr/>
        </p:nvCxnSpPr>
        <p:spPr>
          <a:xfrm flipH="1">
            <a:off x="3884612" y="3276601"/>
            <a:ext cx="990601" cy="1312752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01129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 (3/5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Les métriques nous indiquent qu’il faut garder 2 cluster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3E13BB6-750E-4862-8FFA-3D769E21C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7275" y="0"/>
            <a:ext cx="88615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838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 (4/5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2743D6-9D92-496F-A77C-9BDDA110E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7327" y="0"/>
            <a:ext cx="8791498" cy="6858000"/>
          </a:xfrm>
          <a:prstGeom prst="rect">
            <a:avLst/>
          </a:prstGeom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502F6F19-EDB3-4013-ADD5-CE0F91F18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Coloration des nouveaux clusters trouvés par HAC + optimal transport distance</a:t>
            </a:r>
          </a:p>
        </p:txBody>
      </p:sp>
    </p:spTree>
    <p:extLst>
      <p:ext uri="{BB962C8B-B14F-4D97-AF65-F5344CB8AC3E}">
        <p14:creationId xmlns:p14="http://schemas.microsoft.com/office/powerpoint/2010/main" val="13093651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 (5/5)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502F6F19-EDB3-4013-ADD5-CE0F91F18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455740"/>
            <a:ext cx="2982672" cy="4632325"/>
          </a:xfrm>
        </p:spPr>
        <p:txBody>
          <a:bodyPr/>
          <a:lstStyle/>
          <a:p>
            <a:r>
              <a:rPr lang="fr-FR" dirty="0"/>
              <a:t>Zoom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9CCFE19-9C2F-4F98-9E16-A6796828F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7304" y="0"/>
            <a:ext cx="88106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6300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4 (1/2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4632325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722 293 impulsions</a:t>
            </a:r>
          </a:p>
          <a:p>
            <a:endParaRPr lang="fr-FR" dirty="0"/>
          </a:p>
          <a:p>
            <a:r>
              <a:rPr lang="fr-FR" dirty="0"/>
              <a:t>Zoom sur dTOA x TOA</a:t>
            </a:r>
          </a:p>
          <a:p>
            <a:endParaRPr lang="fr-FR" dirty="0"/>
          </a:p>
          <a:p>
            <a:r>
              <a:rPr lang="fr-FR" dirty="0"/>
              <a:t>4 147 clusters retournés par HDBSCA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856F2F1-9C66-462C-B877-249F1CBD80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5937" y="0"/>
            <a:ext cx="79028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3252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14 (2/2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DF90FDF-7B42-4D2F-961F-67A8493ECB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9712" y="1371601"/>
            <a:ext cx="3010965" cy="4572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444D026-4EF0-48E4-8969-3CC80BE76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8262" y="1333501"/>
            <a:ext cx="3052300" cy="4648200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D90FE0A-AE75-4204-8089-9355D99AA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412" y="2282052"/>
            <a:ext cx="3276600" cy="2363747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B7ABF70-BAA0-4CB6-99AB-A9AB1EDAADA2}"/>
              </a:ext>
            </a:extLst>
          </p:cNvPr>
          <p:cNvSpPr/>
          <p:nvPr/>
        </p:nvSpPr>
        <p:spPr>
          <a:xfrm>
            <a:off x="9904412" y="4305301"/>
            <a:ext cx="795209" cy="1371602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FFA228CB-55D6-4BFF-8EE8-CC9CC80A5D53}"/>
              </a:ext>
            </a:extLst>
          </p:cNvPr>
          <p:cNvCxnSpPr>
            <a:cxnSpLocks/>
            <a:stCxn id="10" idx="1"/>
            <a:endCxn id="8" idx="3"/>
          </p:cNvCxnSpPr>
          <p:nvPr/>
        </p:nvCxnSpPr>
        <p:spPr>
          <a:xfrm flipH="1" flipV="1">
            <a:off x="7620562" y="3657601"/>
            <a:ext cx="2283850" cy="1333501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C8F8E94-276E-40BF-AA5E-0B5D85B564A7}"/>
              </a:ext>
            </a:extLst>
          </p:cNvPr>
          <p:cNvSpPr/>
          <p:nvPr/>
        </p:nvSpPr>
        <p:spPr>
          <a:xfrm>
            <a:off x="5837621" y="4390160"/>
            <a:ext cx="513581" cy="764403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rgbClr val="FF0000"/>
                </a:solidFill>
              </a:ln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20C84202-1FF2-4CD5-A700-07B76FB11343}"/>
              </a:ext>
            </a:extLst>
          </p:cNvPr>
          <p:cNvCxnSpPr>
            <a:cxnSpLocks/>
            <a:endCxn id="9" idx="3"/>
          </p:cNvCxnSpPr>
          <p:nvPr/>
        </p:nvCxnSpPr>
        <p:spPr>
          <a:xfrm flipH="1" flipV="1">
            <a:off x="4037012" y="3463926"/>
            <a:ext cx="1800612" cy="146203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86665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69 (1/2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4632325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10 296 602 impulsions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2 532 clusters retournés par HDBSCA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EDA4EDE-C66E-444D-800A-5C46756DD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5937" y="0"/>
            <a:ext cx="79028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9915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69 (2/2)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2C086E2-A787-4F59-810A-E3BB0C32D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1012" y="1447800"/>
            <a:ext cx="2883488" cy="4419600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7C7EDCD-A608-4AB1-85ED-56B52BE67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4326" y="1295400"/>
            <a:ext cx="3052373" cy="4800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655F39-245A-4F25-8732-705FA2E08576}"/>
              </a:ext>
            </a:extLst>
          </p:cNvPr>
          <p:cNvSpPr/>
          <p:nvPr/>
        </p:nvSpPr>
        <p:spPr>
          <a:xfrm>
            <a:off x="8075612" y="3810000"/>
            <a:ext cx="795209" cy="1371602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E46F5BEB-FD48-4C48-9ACE-FB27AB876875}"/>
              </a:ext>
            </a:extLst>
          </p:cNvPr>
          <p:cNvCxnSpPr>
            <a:cxnSpLocks/>
            <a:endCxn id="6" idx="3"/>
          </p:cNvCxnSpPr>
          <p:nvPr/>
        </p:nvCxnSpPr>
        <p:spPr>
          <a:xfrm flipH="1" flipV="1">
            <a:off x="4634500" y="3657600"/>
            <a:ext cx="3441114" cy="1295402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00026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40 (1/2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2666999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619 168 impulsions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1 695 clusters retournés par HDBSCA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7D7FFB2-876C-4C80-8E8A-8036ED78F2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4284" y="0"/>
            <a:ext cx="8849289" cy="678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3792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40 (2/2)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7311E6B-36B0-40AF-8F19-BA959A0D28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6022" y="1333501"/>
            <a:ext cx="3306790" cy="4939480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A37FA7A-2552-4882-B968-A7E5AFD97B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412" y="1333501"/>
            <a:ext cx="3296574" cy="48767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1062728-4D5E-4CD6-BA6E-7D099765EDF6}"/>
              </a:ext>
            </a:extLst>
          </p:cNvPr>
          <p:cNvSpPr/>
          <p:nvPr/>
        </p:nvSpPr>
        <p:spPr>
          <a:xfrm>
            <a:off x="7813803" y="4114800"/>
            <a:ext cx="1295400" cy="182880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9682BCA8-6D9E-43BC-8AF1-117683162095}"/>
              </a:ext>
            </a:extLst>
          </p:cNvPr>
          <p:cNvCxnSpPr>
            <a:cxnSpLocks/>
            <a:endCxn id="7" idx="3"/>
          </p:cNvCxnSpPr>
          <p:nvPr/>
        </p:nvCxnSpPr>
        <p:spPr>
          <a:xfrm flipH="1" flipV="1">
            <a:off x="4722812" y="3803241"/>
            <a:ext cx="3090991" cy="1302159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160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563A87-00E3-4962-A5DE-B4E899F09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el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E8008CA-363A-4CA2-8C12-DAAD8C947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3148" y="1455740"/>
            <a:ext cx="11453864" cy="4632325"/>
          </a:xfrm>
        </p:spPr>
        <p:txBody>
          <a:bodyPr/>
          <a:lstStyle/>
          <a:p>
            <a:r>
              <a:rPr lang="fr-FR" sz="1800" dirty="0"/>
              <a:t> </a:t>
            </a:r>
            <a:r>
              <a:rPr lang="fr-FR" sz="2000" dirty="0"/>
              <a:t>Objectifs initiaux:</a:t>
            </a:r>
          </a:p>
          <a:p>
            <a:endParaRPr lang="fr-FR" sz="2000" dirty="0"/>
          </a:p>
          <a:p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Déterminer le nombre d’émetteur(s) présent(s) dans un signal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Classifier chaque impulsion de ce signal par rapport au(x) émetteur(s) présent(s)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Proposer une méthodologie pour les cas « standard »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Identifier les cas particuliers et proposer de nouvelles approches</a:t>
            </a:r>
          </a:p>
          <a:p>
            <a:pPr marL="0" indent="0">
              <a:buNone/>
            </a:pPr>
            <a:endParaRPr lang="fr-FR" sz="2000" dirty="0"/>
          </a:p>
          <a:p>
            <a:endParaRPr lang="fr-FR" sz="1800" dirty="0"/>
          </a:p>
          <a:p>
            <a:pPr lvl="1"/>
            <a:endParaRPr lang="fr-FR" sz="1600" dirty="0"/>
          </a:p>
          <a:p>
            <a:pPr lvl="1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1442690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3A1D64-621A-4DEC-B7EF-B471F2215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7972879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24560B-F9D2-43A6-8202-CCAD118E4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1852486-CDFE-4551-8C6C-57AD0994D6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dirty="0"/>
              <a:t>Proposition d’une méthodologie traitant des cas basiques</a:t>
            </a:r>
          </a:p>
          <a:p>
            <a:endParaRPr lang="fr-FR" sz="2000" dirty="0"/>
          </a:p>
          <a:p>
            <a:r>
              <a:rPr lang="fr-FR" sz="2000" dirty="0"/>
              <a:t>Réflexion sur l’identification des émetteurs ayant FN et DI identiques</a:t>
            </a:r>
          </a:p>
          <a:p>
            <a:endParaRPr lang="fr-FR" sz="2000" dirty="0"/>
          </a:p>
          <a:p>
            <a:r>
              <a:rPr lang="fr-FR" sz="2000" dirty="0"/>
              <a:t>Ecriture d’un article méthodologique soumis à une conférence spécialisée</a:t>
            </a:r>
          </a:p>
          <a:p>
            <a:endParaRPr lang="fr-FR" sz="2000" dirty="0"/>
          </a:p>
          <a:p>
            <a:pPr marL="541202" lvl="2" indent="0" algn="ctr">
              <a:buNone/>
            </a:pPr>
            <a:r>
              <a:rPr lang="fr-FR" sz="2000" b="1" u="sng" dirty="0">
                <a:solidFill>
                  <a:srgbClr val="FF0000"/>
                </a:solidFill>
              </a:rPr>
              <a:t>Questions / Réponses </a:t>
            </a:r>
          </a:p>
          <a:p>
            <a:endParaRPr lang="fr-FR" sz="2000" dirty="0"/>
          </a:p>
          <a:p>
            <a:r>
              <a:rPr lang="fr-FR" sz="2000" dirty="0"/>
              <a:t>Rédaction de l’état de l’art</a:t>
            </a:r>
          </a:p>
          <a:p>
            <a:endParaRPr lang="fr-FR" sz="2000" dirty="0"/>
          </a:p>
          <a:p>
            <a:pPr defTabSz="914400"/>
            <a:r>
              <a:rPr lang="fr-FR" sz="2000" dirty="0"/>
              <a:t>Amélioration du système de regroupement des clusters</a:t>
            </a:r>
          </a:p>
          <a:p>
            <a:pPr lvl="1" defTabSz="914400">
              <a:buFont typeface="Wingdings" panose="05000000000000000000" pitchFamily="2" charset="2"/>
              <a:buChar char="q"/>
            </a:pPr>
            <a:r>
              <a:rPr lang="fr-FR" sz="2000" dirty="0"/>
              <a:t>Intégrations de nouvelles métriques</a:t>
            </a:r>
          </a:p>
          <a:p>
            <a:pPr lvl="1" defTabSz="914400">
              <a:buFont typeface="Wingdings" panose="05000000000000000000" pitchFamily="2" charset="2"/>
              <a:buChar char="q"/>
            </a:pPr>
            <a:r>
              <a:rPr lang="fr-FR" sz="2000" dirty="0"/>
              <a:t>Benchmark en cours entre la méthode d’Avantix et celle de Manon</a:t>
            </a:r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6219428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24560B-F9D2-43A6-8202-CCAD118E4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ursuite de l’activité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1852486-CDFE-4551-8C6C-57AD0994D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20" y="1371600"/>
            <a:ext cx="11659796" cy="4632325"/>
          </a:xfrm>
        </p:spPr>
        <p:txBody>
          <a:bodyPr/>
          <a:lstStyle/>
          <a:p>
            <a:r>
              <a:rPr lang="fr-FR" sz="2000" dirty="0"/>
              <a:t>Besoins</a:t>
            </a:r>
          </a:p>
          <a:p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Données réelles labélisées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Accès aux résultats de </a:t>
            </a:r>
            <a:r>
              <a:rPr lang="fr-FR" sz="2000" dirty="0" err="1"/>
              <a:t>déentrelaçement</a:t>
            </a:r>
            <a:r>
              <a:rPr lang="fr-FR" sz="2000" dirty="0"/>
              <a:t> de la DGA pour </a:t>
            </a:r>
            <a:r>
              <a:rPr lang="fr-FR" sz="2000" dirty="0" err="1"/>
              <a:t>benchmarker</a:t>
            </a:r>
            <a:r>
              <a:rPr lang="fr-FR" sz="2000" dirty="0"/>
              <a:t> plusieurs méthodes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r>
              <a:rPr lang="fr-FR" sz="2000" dirty="0"/>
              <a:t>Prochaines échéances</a:t>
            </a:r>
          </a:p>
          <a:p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Janvier 2021: notification d’acceptation de l’article 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Avril 2021 : point de l’avancement dans 6 mois</a:t>
            </a:r>
          </a:p>
          <a:p>
            <a:pPr lvl="1"/>
            <a:endParaRPr lang="fr-FR" sz="2000" dirty="0"/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5270246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BAE9B1-7B12-4994-8180-6C447FEADF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/>
              <a:t>Thank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for </a:t>
            </a:r>
            <a:r>
              <a:rPr lang="fr-FR" dirty="0" err="1"/>
              <a:t>your</a:t>
            </a:r>
            <a:r>
              <a:rPr lang="fr-FR" dirty="0"/>
              <a:t> attention</a:t>
            </a:r>
          </a:p>
        </p:txBody>
      </p:sp>
    </p:spTree>
    <p:extLst>
      <p:ext uri="{BB962C8B-B14F-4D97-AF65-F5344CB8AC3E}">
        <p14:creationId xmlns:p14="http://schemas.microsoft.com/office/powerpoint/2010/main" val="14884999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8A01EB-C91A-49E6-8486-70E2858FF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s</a:t>
            </a:r>
          </a:p>
        </p:txBody>
      </p:sp>
    </p:spTree>
    <p:extLst>
      <p:ext uri="{BB962C8B-B14F-4D97-AF65-F5344CB8AC3E}">
        <p14:creationId xmlns:p14="http://schemas.microsoft.com/office/powerpoint/2010/main" val="120608590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54 (1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2514599"/>
          </a:xfrm>
        </p:spPr>
        <p:txBody>
          <a:bodyPr/>
          <a:lstStyle/>
          <a:p>
            <a:r>
              <a:rPr lang="fr-FR" dirty="0"/>
              <a:t>Simple plot</a:t>
            </a:r>
          </a:p>
          <a:p>
            <a:endParaRPr lang="fr-FR" dirty="0"/>
          </a:p>
          <a:p>
            <a:r>
              <a:rPr lang="fr-FR" dirty="0"/>
              <a:t>36 327 impulsions</a:t>
            </a:r>
          </a:p>
          <a:p>
            <a:endParaRPr lang="fr-FR" dirty="0"/>
          </a:p>
          <a:p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CA02F1C-E011-4469-9E3D-B3A1654823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12" y="0"/>
            <a:ext cx="814917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8030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54 (2/4)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46AB775-4C51-409A-9226-09B35C5A54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2514599"/>
          </a:xfrm>
        </p:spPr>
        <p:txBody>
          <a:bodyPr/>
          <a:lstStyle/>
          <a:p>
            <a:r>
              <a:rPr lang="fr-FR" dirty="0"/>
              <a:t>9 clusters retournés par HDBSCA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BFD7A0-B701-4D75-AE9F-715D7DF0C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012" y="1981200"/>
            <a:ext cx="9059114" cy="363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400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54 (3/4)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24FA7BD-9C50-4AD2-A0CC-669F5C81D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12" y="0"/>
            <a:ext cx="82316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3565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48" y="376239"/>
            <a:ext cx="4082789" cy="760412"/>
          </a:xfrm>
        </p:spPr>
        <p:txBody>
          <a:bodyPr/>
          <a:lstStyle/>
          <a:p>
            <a:r>
              <a:rPr lang="fr-FR" dirty="0"/>
              <a:t>Signal 54 (4/4)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026BCD3E-11F4-405C-B77B-EE1FC1ADC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212" y="1447800"/>
            <a:ext cx="2982672" cy="2514599"/>
          </a:xfrm>
        </p:spPr>
        <p:txBody>
          <a:bodyPr/>
          <a:lstStyle/>
          <a:p>
            <a:r>
              <a:rPr lang="fr-FR" dirty="0"/>
              <a:t>4 clusters retournés par HDBSCA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72CB933-62B2-49FF-B199-6B158A73C3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5937" y="0"/>
            <a:ext cx="7902888" cy="68580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948E09E-9F6A-4D64-9F3B-C96E5AC4D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12" y="3659189"/>
            <a:ext cx="3050816" cy="2360612"/>
          </a:xfrm>
          <a:prstGeom prst="rect">
            <a:avLst/>
          </a:prstGeom>
          <a:ln w="19050">
            <a:solidFill>
              <a:srgbClr val="FFC000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640405-D41A-4B59-971A-EAF4A81D01E8}"/>
              </a:ext>
            </a:extLst>
          </p:cNvPr>
          <p:cNvSpPr/>
          <p:nvPr/>
        </p:nvSpPr>
        <p:spPr>
          <a:xfrm>
            <a:off x="11260076" y="3733800"/>
            <a:ext cx="777935" cy="914400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F89C9BF1-5705-41E7-BC71-A38ED5D0F54D}"/>
              </a:ext>
            </a:extLst>
          </p:cNvPr>
          <p:cNvCxnSpPr>
            <a:cxnSpLocks/>
            <a:stCxn id="9" idx="1"/>
            <a:endCxn id="4" idx="3"/>
          </p:cNvCxnSpPr>
          <p:nvPr/>
        </p:nvCxnSpPr>
        <p:spPr>
          <a:xfrm flipH="1">
            <a:off x="3658828" y="4191000"/>
            <a:ext cx="7601248" cy="648495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971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563A87-00E3-4962-A5DE-B4E899F09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el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F35440-4F1A-49F6-87CB-2B2D2A52FF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3148" y="1455740"/>
            <a:ext cx="11642869" cy="4632325"/>
          </a:xfrm>
        </p:spPr>
        <p:txBody>
          <a:bodyPr/>
          <a:lstStyle/>
          <a:p>
            <a:r>
              <a:rPr lang="fr-FR" sz="2000" dirty="0"/>
              <a:t> Objectifs de la réunion précédente</a:t>
            </a:r>
          </a:p>
          <a:p>
            <a:pPr marL="0" indent="0">
              <a:buNone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Enrichissement des données pour valider les méthodologies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4">
              <a:buFont typeface="Wingdings" panose="05000000000000000000" pitchFamily="2" charset="2"/>
              <a:buChar char="q"/>
            </a:pPr>
            <a:r>
              <a:rPr lang="fr-FR" sz="2000" dirty="0"/>
              <a:t>Volumétrie</a:t>
            </a:r>
          </a:p>
          <a:p>
            <a:pPr lvl="4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4">
              <a:buFont typeface="Wingdings" panose="05000000000000000000" pitchFamily="2" charset="2"/>
              <a:buChar char="q"/>
            </a:pPr>
            <a:r>
              <a:rPr lang="fr-FR" sz="2000" dirty="0"/>
              <a:t>Labélisation 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fr-FR" dirty="0"/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Complexification des données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Avoir accès à une base de données radar afin d’anticiper la phase d’identification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CBE193E6-7E81-4239-9A29-3C2A22AD465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1812" y="4724400"/>
            <a:ext cx="322263" cy="4921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2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rPr>
              <a:t>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ＭＳ Ｐゴシック" charset="-128"/>
              <a:sym typeface="Wingdings" pitchFamily="2" charset="2"/>
            </a:endParaRP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35A5522C-01F3-4532-8AE1-D41D429D049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1174" y="5327650"/>
            <a:ext cx="325438" cy="6159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4000" dirty="0">
                <a:solidFill>
                  <a:srgbClr val="C00000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4000" dirty="0">
              <a:solidFill>
                <a:srgbClr val="C000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8" name="Text Box 4">
            <a:extLst>
              <a:ext uri="{FF2B5EF4-FFF2-40B4-BE49-F238E27FC236}">
                <a16:creationId xmlns:a16="http://schemas.microsoft.com/office/drawing/2014/main" id="{ECD11038-EC50-4AC6-B188-FBD5B2F9507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52549" y="2895600"/>
            <a:ext cx="322263" cy="4921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2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rPr>
              <a:t>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ＭＳ Ｐゴシック" charset="-128"/>
              <a:sym typeface="Wingdings" pitchFamily="2" charset="2"/>
            </a:endParaRPr>
          </a:p>
        </p:txBody>
      </p:sp>
      <p:sp>
        <p:nvSpPr>
          <p:cNvPr id="9" name="Text Box 5">
            <a:extLst>
              <a:ext uri="{FF2B5EF4-FFF2-40B4-BE49-F238E27FC236}">
                <a16:creationId xmlns:a16="http://schemas.microsoft.com/office/drawing/2014/main" id="{E8648A52-D68A-4B05-B398-654E72B99D1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28736" y="3498850"/>
            <a:ext cx="325438" cy="6159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4000" dirty="0">
                <a:solidFill>
                  <a:srgbClr val="C00000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4000" dirty="0">
              <a:solidFill>
                <a:srgbClr val="C000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8DA5E743-0216-44D7-92C3-2F0478911A12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1812" y="2209800"/>
            <a:ext cx="239712" cy="3698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2400" b="1" dirty="0">
                <a:solidFill>
                  <a:srgbClr val="FFC000"/>
                </a:solidFill>
                <a:ea typeface="ＭＳ Ｐゴシック" charset="-128"/>
                <a:sym typeface="Wingdings" pitchFamily="2" charset="2"/>
              </a:rPr>
              <a:t>O</a:t>
            </a:r>
            <a:endParaRPr lang="en-US" sz="2400" b="1" dirty="0">
              <a:solidFill>
                <a:srgbClr val="FFC000"/>
              </a:solidFill>
              <a:ea typeface="ＭＳ Ｐゴシック" charset="-128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84135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563A87-00E3-4962-A5DE-B4E899F09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el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F35440-4F1A-49F6-87CB-2B2D2A52FF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3148" y="1455740"/>
            <a:ext cx="11642869" cy="4632325"/>
          </a:xfrm>
        </p:spPr>
        <p:txBody>
          <a:bodyPr/>
          <a:lstStyle/>
          <a:p>
            <a:r>
              <a:rPr lang="fr-FR" sz="2000" dirty="0"/>
              <a:t> Bases de travail</a:t>
            </a:r>
          </a:p>
          <a:p>
            <a:pPr marL="0" indent="0">
              <a:buNone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Donnés simulées à partir du simulateur d’AVANTIX</a:t>
            </a:r>
          </a:p>
          <a:p>
            <a:pPr lvl="1">
              <a:buFont typeface="Arial" panose="020B0604020202020204" pitchFamily="34" charset="0"/>
              <a:buChar char="•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Données réelles fournies par :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fr-FR" sz="2000" dirty="0"/>
              <a:t>Avantix (certains signaux sont labélisés manuellement)</a:t>
            </a:r>
          </a:p>
          <a:p>
            <a:pPr lvl="3">
              <a:buFont typeface="Arial" panose="020B0604020202020204" pitchFamily="34" charset="0"/>
              <a:buChar char="•"/>
            </a:pPr>
            <a:endParaRPr lang="fr-FR" sz="20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fr-FR" sz="2000" dirty="0"/>
              <a:t>DGA (signaux non labélisés)</a:t>
            </a:r>
          </a:p>
          <a:p>
            <a:pPr lvl="3">
              <a:buFont typeface="Arial" panose="020B0604020202020204" pitchFamily="34" charset="0"/>
              <a:buChar char="•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Formes d’ondes</a:t>
            </a:r>
          </a:p>
        </p:txBody>
      </p:sp>
    </p:spTree>
    <p:extLst>
      <p:ext uri="{BB962C8B-B14F-4D97-AF65-F5344CB8AC3E}">
        <p14:creationId xmlns:p14="http://schemas.microsoft.com/office/powerpoint/2010/main" val="3090086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CD75510-466F-49BC-92A2-F38B8993F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els de la stratégie</a:t>
            </a:r>
          </a:p>
        </p:txBody>
      </p:sp>
    </p:spTree>
    <p:extLst>
      <p:ext uri="{BB962C8B-B14F-4D97-AF65-F5344CB8AC3E}">
        <p14:creationId xmlns:p14="http://schemas.microsoft.com/office/powerpoint/2010/main" val="3408388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ologie général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b="1" dirty="0"/>
              <a:t>Fonctionnement :</a:t>
            </a:r>
          </a:p>
          <a:p>
            <a:endParaRPr lang="fr-FR" sz="2000" b="1" dirty="0"/>
          </a:p>
          <a:p>
            <a:endParaRPr lang="fr-FR" sz="2000" b="1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Clustering en 2 dimensions à partir de la Fréquence et de la Durée d’Impulsion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 err="1"/>
              <a:t>Hierarchical</a:t>
            </a:r>
            <a:r>
              <a:rPr lang="fr-FR" sz="2000" dirty="0"/>
              <a:t> </a:t>
            </a:r>
            <a:r>
              <a:rPr lang="fr-FR" sz="2000" dirty="0" err="1"/>
              <a:t>Agglomerative</a:t>
            </a:r>
            <a:r>
              <a:rPr lang="fr-FR" sz="2000" dirty="0"/>
              <a:t> Clustering combiné au transport optimal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fr-FR" sz="20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000" dirty="0"/>
              <a:t>Reconstitution du signal</a:t>
            </a:r>
          </a:p>
        </p:txBody>
      </p:sp>
    </p:spTree>
    <p:extLst>
      <p:ext uri="{BB962C8B-B14F-4D97-AF65-F5344CB8AC3E}">
        <p14:creationId xmlns:p14="http://schemas.microsoft.com/office/powerpoint/2010/main" val="23922742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52FAB6-3C1D-4E1E-9B95-9E43BC47C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) Clustering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FB54B3-B0D6-4805-B69A-BBC5A5505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dirty="0"/>
              <a:t>Utilisation de l’algorithme HDSBCAN sur la Fréquence et la durée d’impulsion</a:t>
            </a:r>
          </a:p>
          <a:p>
            <a:endParaRPr lang="fr-FR" sz="2000" dirty="0"/>
          </a:p>
          <a:p>
            <a:endParaRPr lang="fr-FR" sz="2000" dirty="0"/>
          </a:p>
          <a:p>
            <a:r>
              <a:rPr lang="fr-FR" sz="2000" dirty="0"/>
              <a:t>Avantages</a:t>
            </a:r>
          </a:p>
          <a:p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Successeur d'OPTICS et DBSCAN</a:t>
            </a:r>
            <a:br>
              <a:rPr lang="fr-FR" sz="2000" dirty="0"/>
            </a:b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Permets de rechercher des clusters de densités variables </a:t>
            </a:r>
            <a:br>
              <a:rPr lang="fr-FR" sz="2000" dirty="0"/>
            </a:b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2000" dirty="0"/>
              <a:t>Moins de paramètres à optimiser</a:t>
            </a:r>
          </a:p>
          <a:p>
            <a:pPr marL="541202" lvl="2" indent="0">
              <a:buNone/>
            </a:pPr>
            <a:endParaRPr lang="fr-FR" sz="2000" dirty="0"/>
          </a:p>
          <a:p>
            <a:pPr lvl="2">
              <a:buFont typeface="Wingdings" panose="05000000000000000000" pitchFamily="2" charset="2"/>
              <a:buChar char="q"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803903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a7nMrhA0.tN62dRUqkcw"/>
</p:tagLst>
</file>

<file path=ppt/theme/theme1.xml><?xml version="1.0" encoding="utf-8"?>
<a:theme xmlns:a="http://schemas.openxmlformats.org/drawingml/2006/main" name="Atos_2016_16-9_template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tos v4.0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 Technology Unit H1 2016" id="{856ECD45-8D35-1B4B-A616-96EDB291CD92}" vid="{97D919D0-DC5F-584B-A116-7A582B9704CC}"/>
    </a:ext>
  </a:extLst>
</a:theme>
</file>

<file path=ppt/theme/theme3.xml><?xml version="1.0" encoding="utf-8"?>
<a:theme xmlns:a="http://schemas.openxmlformats.org/drawingml/2006/main" name="New Atos Template with corporate colours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Verdana"/>
            <a:cs typeface="Verdana"/>
          </a:defRPr>
        </a:defPPr>
      </a:lstStyle>
    </a:tx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85</TotalTime>
  <Words>1280</Words>
  <Application>Microsoft Office PowerPoint</Application>
  <PresentationFormat>Personnalisé</PresentationFormat>
  <Paragraphs>329</Paragraphs>
  <Slides>48</Slides>
  <Notes>5</Notes>
  <HiddenSlides>26</HiddenSlides>
  <MMClips>0</MMClips>
  <ScaleCrop>false</ScaleCrop>
  <HeadingPairs>
    <vt:vector size="6" baseType="variant">
      <vt:variant>
        <vt:lpstr>Polices utilisées</vt:lpstr>
      </vt:variant>
      <vt:variant>
        <vt:i4>15</vt:i4>
      </vt:variant>
      <vt:variant>
        <vt:lpstr>Thème</vt:lpstr>
      </vt:variant>
      <vt:variant>
        <vt:i4>3</vt:i4>
      </vt:variant>
      <vt:variant>
        <vt:lpstr>Titres des diapositives</vt:lpstr>
      </vt:variant>
      <vt:variant>
        <vt:i4>48</vt:i4>
      </vt:variant>
    </vt:vector>
  </HeadingPairs>
  <TitlesOfParts>
    <vt:vector size="66" baseType="lpstr">
      <vt:lpstr>Arial</vt:lpstr>
      <vt:lpstr>Calibri</vt:lpstr>
      <vt:lpstr>Lucida Sans</vt:lpstr>
      <vt:lpstr>Lucida Sans Unicode</vt:lpstr>
      <vt:lpstr>Roboto Light</vt:lpstr>
      <vt:lpstr>Stag LCG Book</vt:lpstr>
      <vt:lpstr>Stag LCG Light</vt:lpstr>
      <vt:lpstr>Stag LCG Medium</vt:lpstr>
      <vt:lpstr>Stag LCG Semibold</vt:lpstr>
      <vt:lpstr>Stag Sans Book</vt:lpstr>
      <vt:lpstr>Stag Sans LCG Book</vt:lpstr>
      <vt:lpstr>Stag Sans LCG Light</vt:lpstr>
      <vt:lpstr>Times New Roman</vt:lpstr>
      <vt:lpstr>Verdana</vt:lpstr>
      <vt:lpstr>Wingdings</vt:lpstr>
      <vt:lpstr>Atos_2016_16-9_template</vt:lpstr>
      <vt:lpstr>1_Atos v4.0</vt:lpstr>
      <vt:lpstr>New Atos Template with corporate colours</vt:lpstr>
      <vt:lpstr>Plénière – 1 an de thèse</vt:lpstr>
      <vt:lpstr>Plan</vt:lpstr>
      <vt:lpstr>INTRODUCTION</vt:lpstr>
      <vt:lpstr>Rappels</vt:lpstr>
      <vt:lpstr>Rappels</vt:lpstr>
      <vt:lpstr>Rappels</vt:lpstr>
      <vt:lpstr>Rappels de la stratégie</vt:lpstr>
      <vt:lpstr>Méthodologie générale</vt:lpstr>
      <vt:lpstr>1) Clustering</vt:lpstr>
      <vt:lpstr>1) Clustering</vt:lpstr>
      <vt:lpstr>1) Clustering</vt:lpstr>
      <vt:lpstr>1) Clustering</vt:lpstr>
      <vt:lpstr>Comparaison des méthodes de clustering</vt:lpstr>
      <vt:lpstr>2) HAC combiné au Transport optimal</vt:lpstr>
      <vt:lpstr>2) HAC combiné au Transport optimal</vt:lpstr>
      <vt:lpstr>3) Reconstitution du signal</vt:lpstr>
      <vt:lpstr>Applications </vt:lpstr>
      <vt:lpstr>Signal 220 (1/7)</vt:lpstr>
      <vt:lpstr>Signal 220 (2/7)</vt:lpstr>
      <vt:lpstr>Signal 220 (3/7)</vt:lpstr>
      <vt:lpstr>Signal 220 (4/7)</vt:lpstr>
      <vt:lpstr>Signal 220 (5/7)</vt:lpstr>
      <vt:lpstr>Signal 220 (6/7)</vt:lpstr>
      <vt:lpstr>Signal 220 (7/7)</vt:lpstr>
      <vt:lpstr>Signal 17 (1/4)</vt:lpstr>
      <vt:lpstr>Signal 17 (2/4)</vt:lpstr>
      <vt:lpstr>Signal 17 (3/4)</vt:lpstr>
      <vt:lpstr>Signal 17 (4/4)</vt:lpstr>
      <vt:lpstr>Signal 1 (1/5)</vt:lpstr>
      <vt:lpstr>Signal 1 (2/5)</vt:lpstr>
      <vt:lpstr>Signal 1 (3/5)</vt:lpstr>
      <vt:lpstr>Signal 1 (4/5)</vt:lpstr>
      <vt:lpstr>Signal 1 (5/5)</vt:lpstr>
      <vt:lpstr>Signal 14 (1/2)</vt:lpstr>
      <vt:lpstr>Signal 14 (2/2)</vt:lpstr>
      <vt:lpstr>Signal 69 (1/2)</vt:lpstr>
      <vt:lpstr>Signal 69 (2/2)</vt:lpstr>
      <vt:lpstr>Signal 40 (1/2)</vt:lpstr>
      <vt:lpstr>Signal 40 (2/2)</vt:lpstr>
      <vt:lpstr>Conclusions</vt:lpstr>
      <vt:lpstr>Conclusions</vt:lpstr>
      <vt:lpstr>Poursuite de l’activité</vt:lpstr>
      <vt:lpstr>Thank you for your attention</vt:lpstr>
      <vt:lpstr>Annexes</vt:lpstr>
      <vt:lpstr>Signal 54 (1/4)</vt:lpstr>
      <vt:lpstr>Signal 54 (2/4)</vt:lpstr>
      <vt:lpstr>Signal 54 (3/4)</vt:lpstr>
      <vt:lpstr>Signal 54 (4/4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énière – 1 an de thèse</dc:title>
  <dc:creator>MOTTIER, MANON</dc:creator>
  <cp:lastModifiedBy>MOTTIER, MANON</cp:lastModifiedBy>
  <cp:revision>106</cp:revision>
  <dcterms:created xsi:type="dcterms:W3CDTF">2020-11-02T13:27:23Z</dcterms:created>
  <dcterms:modified xsi:type="dcterms:W3CDTF">2020-11-19T10:3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12e00b9-34e2-4b26-a577-af1fd0f9f7ee_Enabled">
    <vt:lpwstr>True</vt:lpwstr>
  </property>
  <property fmtid="{D5CDD505-2E9C-101B-9397-08002B2CF9AE}" pid="3" name="MSIP_Label_112e00b9-34e2-4b26-a577-af1fd0f9f7ee_SiteId">
    <vt:lpwstr>33440fc6-b7c7-412c-bb73-0e70b0198d5a</vt:lpwstr>
  </property>
  <property fmtid="{D5CDD505-2E9C-101B-9397-08002B2CF9AE}" pid="4" name="MSIP_Label_112e00b9-34e2-4b26-a577-af1fd0f9f7ee_Owner">
    <vt:lpwstr>manon.mottier@atos.net</vt:lpwstr>
  </property>
  <property fmtid="{D5CDD505-2E9C-101B-9397-08002B2CF9AE}" pid="5" name="MSIP_Label_112e00b9-34e2-4b26-a577-af1fd0f9f7ee_SetDate">
    <vt:lpwstr>2020-11-08T21:02:33.6819040Z</vt:lpwstr>
  </property>
  <property fmtid="{D5CDD505-2E9C-101B-9397-08002B2CF9AE}" pid="6" name="MSIP_Label_112e00b9-34e2-4b26-a577-af1fd0f9f7ee_Name">
    <vt:lpwstr>Atos For Internal Use</vt:lpwstr>
  </property>
  <property fmtid="{D5CDD505-2E9C-101B-9397-08002B2CF9AE}" pid="7" name="MSIP_Label_112e00b9-34e2-4b26-a577-af1fd0f9f7ee_Application">
    <vt:lpwstr>Microsoft Azure Information Protection</vt:lpwstr>
  </property>
  <property fmtid="{D5CDD505-2E9C-101B-9397-08002B2CF9AE}" pid="8" name="MSIP_Label_112e00b9-34e2-4b26-a577-af1fd0f9f7ee_ActionId">
    <vt:lpwstr>7313c202-9fb9-41eb-9639-e75215c70671</vt:lpwstr>
  </property>
  <property fmtid="{D5CDD505-2E9C-101B-9397-08002B2CF9AE}" pid="9" name="MSIP_Label_112e00b9-34e2-4b26-a577-af1fd0f9f7ee_Extended_MSFT_Method">
    <vt:lpwstr>Automatic</vt:lpwstr>
  </property>
  <property fmtid="{D5CDD505-2E9C-101B-9397-08002B2CF9AE}" pid="10" name="MSIP_Label_e463cba9-5f6c-478d-9329-7b2295e4e8ed_Enabled">
    <vt:lpwstr>True</vt:lpwstr>
  </property>
  <property fmtid="{D5CDD505-2E9C-101B-9397-08002B2CF9AE}" pid="11" name="MSIP_Label_e463cba9-5f6c-478d-9329-7b2295e4e8ed_SiteId">
    <vt:lpwstr>33440fc6-b7c7-412c-bb73-0e70b0198d5a</vt:lpwstr>
  </property>
  <property fmtid="{D5CDD505-2E9C-101B-9397-08002B2CF9AE}" pid="12" name="MSIP_Label_e463cba9-5f6c-478d-9329-7b2295e4e8ed_Owner">
    <vt:lpwstr>manon.mottier@atos.net</vt:lpwstr>
  </property>
  <property fmtid="{D5CDD505-2E9C-101B-9397-08002B2CF9AE}" pid="13" name="MSIP_Label_e463cba9-5f6c-478d-9329-7b2295e4e8ed_SetDate">
    <vt:lpwstr>2020-11-08T21:02:33.6819040Z</vt:lpwstr>
  </property>
  <property fmtid="{D5CDD505-2E9C-101B-9397-08002B2CF9AE}" pid="14" name="MSIP_Label_e463cba9-5f6c-478d-9329-7b2295e4e8ed_Name">
    <vt:lpwstr>Atos For Internal Use - All Employees</vt:lpwstr>
  </property>
  <property fmtid="{D5CDD505-2E9C-101B-9397-08002B2CF9AE}" pid="15" name="MSIP_Label_e463cba9-5f6c-478d-9329-7b2295e4e8ed_Application">
    <vt:lpwstr>Microsoft Azure Information Protection</vt:lpwstr>
  </property>
  <property fmtid="{D5CDD505-2E9C-101B-9397-08002B2CF9AE}" pid="16" name="MSIP_Label_e463cba9-5f6c-478d-9329-7b2295e4e8ed_ActionId">
    <vt:lpwstr>7313c202-9fb9-41eb-9639-e75215c70671</vt:lpwstr>
  </property>
  <property fmtid="{D5CDD505-2E9C-101B-9397-08002B2CF9AE}" pid="17" name="MSIP_Label_e463cba9-5f6c-478d-9329-7b2295e4e8ed_Parent">
    <vt:lpwstr>112e00b9-34e2-4b26-a577-af1fd0f9f7ee</vt:lpwstr>
  </property>
  <property fmtid="{D5CDD505-2E9C-101B-9397-08002B2CF9AE}" pid="18" name="MSIP_Label_e463cba9-5f6c-478d-9329-7b2295e4e8ed_Extended_MSFT_Method">
    <vt:lpwstr>Automatic</vt:lpwstr>
  </property>
  <property fmtid="{D5CDD505-2E9C-101B-9397-08002B2CF9AE}" pid="19" name="Sensitivity">
    <vt:lpwstr>Atos For Internal Use Atos For Internal Use - All Employees</vt:lpwstr>
  </property>
</Properties>
</file>